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Lst>
  <p:notesMasterIdLst>
    <p:notesMasterId r:id="rId9"/>
  </p:notesMasterIdLst>
  <p:sldIdLst>
    <p:sldId id="262" r:id="rId2"/>
    <p:sldId id="278" r:id="rId3"/>
    <p:sldId id="281" r:id="rId4"/>
    <p:sldId id="273" r:id="rId5"/>
    <p:sldId id="275" r:id="rId6"/>
    <p:sldId id="276" r:id="rId7"/>
    <p:sldId id="27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686"/>
    <a:srgbClr val="B8F4B2"/>
    <a:srgbClr val="919AF3"/>
    <a:srgbClr val="FCF9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6" autoAdjust="0"/>
    <p:restoredTop sz="94660"/>
  </p:normalViewPr>
  <p:slideViewPr>
    <p:cSldViewPr snapToGrid="0">
      <p:cViewPr varScale="1">
        <p:scale>
          <a:sx n="88" d="100"/>
          <a:sy n="88" d="100"/>
        </p:scale>
        <p:origin x="-499" y="-7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4C7B12-5CA5-458D-9C29-CCC3E72B205E}" type="doc">
      <dgm:prSet loTypeId="urn:microsoft.com/office/officeart/2005/8/layout/cycle3" loCatId="cycle" qsTypeId="urn:microsoft.com/office/officeart/2005/8/quickstyle/simple1" qsCatId="simple" csTypeId="urn:microsoft.com/office/officeart/2005/8/colors/accent6_3" csCatId="accent6" phldr="1"/>
      <dgm:spPr/>
      <dgm:t>
        <a:bodyPr/>
        <a:lstStyle/>
        <a:p>
          <a:endParaRPr lang="en-US"/>
        </a:p>
      </dgm:t>
    </dgm:pt>
    <dgm:pt modelId="{8DA14CBB-5BA5-4DD1-95CE-1264514C45C7}">
      <dgm:prSet phldrT="[Text]" custT="1"/>
      <dgm:spPr>
        <a:xfrm>
          <a:off x="462224" y="118"/>
          <a:ext cx="531914" cy="265957"/>
        </a:xfrm>
        <a:solidFill>
          <a:srgbClr val="70AD4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Code</a:t>
          </a:r>
          <a:endParaRPr lang="en-US" sz="900" b="1" dirty="0">
            <a:solidFill>
              <a:sysClr val="window" lastClr="FFFFFF"/>
            </a:solidFill>
            <a:latin typeface="Calibri" panose="020F0502020204030204"/>
            <a:ea typeface="+mn-ea"/>
            <a:cs typeface="+mn-cs"/>
          </a:endParaRPr>
        </a:p>
      </dgm:t>
    </dgm:pt>
    <dgm:pt modelId="{22E8E870-270F-4A70-B2A1-25CA2D22ABAD}" type="parTrans" cxnId="{E109DC31-87FD-48C5-9F96-9276E68FCA08}">
      <dgm:prSet/>
      <dgm:spPr/>
      <dgm:t>
        <a:bodyPr/>
        <a:lstStyle/>
        <a:p>
          <a:endParaRPr lang="en-US"/>
        </a:p>
      </dgm:t>
    </dgm:pt>
    <dgm:pt modelId="{6DDBC433-E91D-4992-8BFE-9B9C0839ED62}" type="sibTrans" cxnId="{E109DC31-87FD-48C5-9F96-9276E68FCA08}">
      <dgm:prSet/>
      <dgm:spPr>
        <a:xfrm>
          <a:off x="162855" y="4730"/>
          <a:ext cx="1130653" cy="1130653"/>
        </a:xfrm>
        <a:solidFill>
          <a:srgbClr val="00B050"/>
        </a:solidFill>
        <a:ln>
          <a:solidFill>
            <a:sysClr val="windowText" lastClr="000000"/>
          </a:solidFill>
        </a:ln>
        <a:effectLst/>
      </dgm:spPr>
      <dgm:t>
        <a:bodyPr/>
        <a:lstStyle/>
        <a:p>
          <a:endParaRPr lang="en-US" sz="800" b="1"/>
        </a:p>
      </dgm:t>
    </dgm:pt>
    <dgm:pt modelId="{380D93C0-BFF4-459C-8C01-B35EA5231C26}">
      <dgm:prSet phldrT="[Text]" custT="1"/>
      <dgm:spPr>
        <a:xfrm>
          <a:off x="868204" y="406098"/>
          <a:ext cx="531914" cy="265957"/>
        </a:xfrm>
        <a:solidFill>
          <a:srgbClr val="70AD47">
            <a:shade val="80000"/>
            <a:hueOff val="107093"/>
            <a:satOff val="-4303"/>
            <a:lumOff val="9209"/>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Run</a:t>
          </a:r>
          <a:endParaRPr lang="en-US" sz="900" b="1" dirty="0">
            <a:solidFill>
              <a:sysClr val="window" lastClr="FFFFFF"/>
            </a:solidFill>
            <a:latin typeface="Calibri" panose="020F0502020204030204"/>
            <a:ea typeface="+mn-ea"/>
            <a:cs typeface="+mn-cs"/>
          </a:endParaRPr>
        </a:p>
      </dgm:t>
    </dgm:pt>
    <dgm:pt modelId="{9CB3E3A8-6D9B-4DA7-B5A7-E38D842BFFF5}" type="parTrans" cxnId="{9DC25848-5AA3-4600-A73E-4D8638BF4F0F}">
      <dgm:prSet/>
      <dgm:spPr/>
      <dgm:t>
        <a:bodyPr/>
        <a:lstStyle/>
        <a:p>
          <a:endParaRPr lang="en-US"/>
        </a:p>
      </dgm:t>
    </dgm:pt>
    <dgm:pt modelId="{93A92F93-3E40-4EE3-ACA8-A6AFACA49311}" type="sibTrans" cxnId="{9DC25848-5AA3-4600-A73E-4D8638BF4F0F}">
      <dgm:prSet/>
      <dgm:spPr/>
      <dgm:t>
        <a:bodyPr/>
        <a:lstStyle/>
        <a:p>
          <a:endParaRPr lang="en-US" sz="800"/>
        </a:p>
      </dgm:t>
    </dgm:pt>
    <dgm:pt modelId="{B140604A-6E97-48EF-AE71-F3602C39FA2E}">
      <dgm:prSet phldrT="[Text]" custT="1"/>
      <dgm:spPr>
        <a:xfrm>
          <a:off x="462224" y="812078"/>
          <a:ext cx="531914" cy="265957"/>
        </a:xfrm>
        <a:solidFill>
          <a:srgbClr val="70AD47">
            <a:shade val="80000"/>
            <a:hueOff val="214187"/>
            <a:satOff val="-8606"/>
            <a:lumOff val="18419"/>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Validate</a:t>
          </a:r>
          <a:endParaRPr lang="en-US" sz="900" b="1" dirty="0">
            <a:solidFill>
              <a:sysClr val="window" lastClr="FFFFFF"/>
            </a:solidFill>
            <a:latin typeface="Calibri" panose="020F0502020204030204"/>
            <a:ea typeface="+mn-ea"/>
            <a:cs typeface="+mn-cs"/>
          </a:endParaRPr>
        </a:p>
      </dgm:t>
    </dgm:pt>
    <dgm:pt modelId="{CC9B1A4E-8CD3-4DAB-9958-E4178B6D2A3F}" type="parTrans" cxnId="{ECFF36B4-6E83-4E58-B466-89EF87C75C5D}">
      <dgm:prSet/>
      <dgm:spPr/>
      <dgm:t>
        <a:bodyPr/>
        <a:lstStyle/>
        <a:p>
          <a:endParaRPr lang="en-US"/>
        </a:p>
      </dgm:t>
    </dgm:pt>
    <dgm:pt modelId="{272C897E-F736-416A-A799-4BB4A51A39D0}" type="sibTrans" cxnId="{ECFF36B4-6E83-4E58-B466-89EF87C75C5D}">
      <dgm:prSet/>
      <dgm:spPr/>
      <dgm:t>
        <a:bodyPr/>
        <a:lstStyle/>
        <a:p>
          <a:endParaRPr lang="en-US" sz="800"/>
        </a:p>
      </dgm:t>
    </dgm:pt>
    <dgm:pt modelId="{ACF6C773-1335-412D-B0CC-32FE29084DF9}">
      <dgm:prSet phldrT="[Text]" custT="1"/>
      <dgm:spPr>
        <a:xfrm>
          <a:off x="56245" y="406098"/>
          <a:ext cx="531914" cy="265957"/>
        </a:xfrm>
        <a:solidFill>
          <a:srgbClr val="70AD47">
            <a:shade val="80000"/>
            <a:hueOff val="321280"/>
            <a:satOff val="-12909"/>
            <a:lumOff val="27628"/>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900" b="1" dirty="0" smtClean="0">
              <a:solidFill>
                <a:sysClr val="window" lastClr="FFFFFF"/>
              </a:solidFill>
              <a:latin typeface="Calibri" panose="020F0502020204030204"/>
              <a:ea typeface="+mn-ea"/>
              <a:cs typeface="+mn-cs"/>
            </a:rPr>
            <a:t>Debug</a:t>
          </a:r>
          <a:endParaRPr lang="en-US" sz="900" b="1" dirty="0">
            <a:solidFill>
              <a:sysClr val="window" lastClr="FFFFFF"/>
            </a:solidFill>
            <a:latin typeface="Calibri" panose="020F0502020204030204"/>
            <a:ea typeface="+mn-ea"/>
            <a:cs typeface="+mn-cs"/>
          </a:endParaRPr>
        </a:p>
      </dgm:t>
    </dgm:pt>
    <dgm:pt modelId="{06C9FA35-B3E2-42DB-A425-0405E8427316}" type="parTrans" cxnId="{B1C28C61-19F6-431B-941F-167D084EA34C}">
      <dgm:prSet/>
      <dgm:spPr/>
      <dgm:t>
        <a:bodyPr/>
        <a:lstStyle/>
        <a:p>
          <a:endParaRPr lang="en-US"/>
        </a:p>
      </dgm:t>
    </dgm:pt>
    <dgm:pt modelId="{1370164E-5C39-48C2-B2EB-55F6F2BF7075}" type="sibTrans" cxnId="{B1C28C61-19F6-431B-941F-167D084EA34C}">
      <dgm:prSet/>
      <dgm:spPr/>
      <dgm:t>
        <a:bodyPr/>
        <a:lstStyle/>
        <a:p>
          <a:endParaRPr lang="en-US" sz="800"/>
        </a:p>
      </dgm:t>
    </dgm:pt>
    <dgm:pt modelId="{17ADD7FD-B1B5-453A-BE7E-3987F953AF32}" type="pres">
      <dgm:prSet presAssocID="{B74C7B12-5CA5-458D-9C29-CCC3E72B205E}" presName="Name0" presStyleCnt="0">
        <dgm:presLayoutVars>
          <dgm:dir/>
          <dgm:resizeHandles val="exact"/>
        </dgm:presLayoutVars>
      </dgm:prSet>
      <dgm:spPr/>
      <dgm:t>
        <a:bodyPr/>
        <a:lstStyle/>
        <a:p>
          <a:endParaRPr lang="en-US"/>
        </a:p>
      </dgm:t>
    </dgm:pt>
    <dgm:pt modelId="{5702100E-09A1-45B9-8A2F-FEAD68371E72}" type="pres">
      <dgm:prSet presAssocID="{B74C7B12-5CA5-458D-9C29-CCC3E72B205E}" presName="cycle" presStyleCnt="0"/>
      <dgm:spPr/>
      <dgm:t>
        <a:bodyPr/>
        <a:lstStyle/>
        <a:p>
          <a:endParaRPr lang="en-US"/>
        </a:p>
      </dgm:t>
    </dgm:pt>
    <dgm:pt modelId="{0194E357-2D8F-4D53-B82B-5A48619B5AAF}" type="pres">
      <dgm:prSet presAssocID="{8DA14CBB-5BA5-4DD1-95CE-1264514C45C7}" presName="nodeFirstNode" presStyleLbl="node1" presStyleIdx="0" presStyleCnt="4">
        <dgm:presLayoutVars>
          <dgm:bulletEnabled val="1"/>
        </dgm:presLayoutVars>
      </dgm:prSet>
      <dgm:spPr>
        <a:prstGeom prst="roundRect">
          <a:avLst/>
        </a:prstGeom>
      </dgm:spPr>
      <dgm:t>
        <a:bodyPr/>
        <a:lstStyle/>
        <a:p>
          <a:endParaRPr lang="en-US"/>
        </a:p>
      </dgm:t>
    </dgm:pt>
    <dgm:pt modelId="{5699B605-5A16-44D2-A50F-11F3571767E8}" type="pres">
      <dgm:prSet presAssocID="{6DDBC433-E91D-4992-8BFE-9B9C0839ED62}" presName="sibTransFirstNode" presStyleLbl="bgShp" presStyleIdx="0" presStyleCnt="1"/>
      <dgm:spPr>
        <a:prstGeom prst="circularArrow">
          <a:avLst>
            <a:gd name="adj1" fmla="val 4668"/>
            <a:gd name="adj2" fmla="val 272909"/>
            <a:gd name="adj3" fmla="val 13868741"/>
            <a:gd name="adj4" fmla="val 17364673"/>
            <a:gd name="adj5" fmla="val 4847"/>
          </a:avLst>
        </a:prstGeom>
      </dgm:spPr>
      <dgm:t>
        <a:bodyPr/>
        <a:lstStyle/>
        <a:p>
          <a:endParaRPr lang="en-US"/>
        </a:p>
      </dgm:t>
    </dgm:pt>
    <dgm:pt modelId="{4D36E8CD-C852-400D-B553-BB7EA1CE0021}" type="pres">
      <dgm:prSet presAssocID="{380D93C0-BFF4-459C-8C01-B35EA5231C26}" presName="nodeFollowingNodes" presStyleLbl="node1" presStyleIdx="1" presStyleCnt="4">
        <dgm:presLayoutVars>
          <dgm:bulletEnabled val="1"/>
        </dgm:presLayoutVars>
      </dgm:prSet>
      <dgm:spPr>
        <a:prstGeom prst="roundRect">
          <a:avLst/>
        </a:prstGeom>
      </dgm:spPr>
      <dgm:t>
        <a:bodyPr/>
        <a:lstStyle/>
        <a:p>
          <a:endParaRPr lang="en-US"/>
        </a:p>
      </dgm:t>
    </dgm:pt>
    <dgm:pt modelId="{92888D90-E573-446D-82B9-13D0B1ECCB1E}" type="pres">
      <dgm:prSet presAssocID="{B140604A-6E97-48EF-AE71-F3602C39FA2E}" presName="nodeFollowingNodes" presStyleLbl="node1" presStyleIdx="2" presStyleCnt="4">
        <dgm:presLayoutVars>
          <dgm:bulletEnabled val="1"/>
        </dgm:presLayoutVars>
      </dgm:prSet>
      <dgm:spPr>
        <a:prstGeom prst="roundRect">
          <a:avLst/>
        </a:prstGeom>
      </dgm:spPr>
      <dgm:t>
        <a:bodyPr/>
        <a:lstStyle/>
        <a:p>
          <a:endParaRPr lang="en-US"/>
        </a:p>
      </dgm:t>
    </dgm:pt>
    <dgm:pt modelId="{56C6F9F7-E814-4EF1-9D40-B689F6D6B3CD}" type="pres">
      <dgm:prSet presAssocID="{ACF6C773-1335-412D-B0CC-32FE29084DF9}" presName="nodeFollowingNodes" presStyleLbl="node1" presStyleIdx="3" presStyleCnt="4">
        <dgm:presLayoutVars>
          <dgm:bulletEnabled val="1"/>
        </dgm:presLayoutVars>
      </dgm:prSet>
      <dgm:spPr>
        <a:prstGeom prst="roundRect">
          <a:avLst/>
        </a:prstGeom>
      </dgm:spPr>
      <dgm:t>
        <a:bodyPr/>
        <a:lstStyle/>
        <a:p>
          <a:endParaRPr lang="en-US"/>
        </a:p>
      </dgm:t>
    </dgm:pt>
  </dgm:ptLst>
  <dgm:cxnLst>
    <dgm:cxn modelId="{F2EFF7E3-3749-4647-879C-1F8E5202753F}" type="presOf" srcId="{B74C7B12-5CA5-458D-9C29-CCC3E72B205E}" destId="{17ADD7FD-B1B5-453A-BE7E-3987F953AF32}" srcOrd="0" destOrd="0" presId="urn:microsoft.com/office/officeart/2005/8/layout/cycle3"/>
    <dgm:cxn modelId="{11E4CDB6-8F7B-448B-B00D-9A3F2AF6F503}" type="presOf" srcId="{380D93C0-BFF4-459C-8C01-B35EA5231C26}" destId="{4D36E8CD-C852-400D-B553-BB7EA1CE0021}" srcOrd="0" destOrd="0" presId="urn:microsoft.com/office/officeart/2005/8/layout/cycle3"/>
    <dgm:cxn modelId="{844B555F-648E-4CEA-9BB9-7709B2311326}" type="presOf" srcId="{ACF6C773-1335-412D-B0CC-32FE29084DF9}" destId="{56C6F9F7-E814-4EF1-9D40-B689F6D6B3CD}" srcOrd="0" destOrd="0" presId="urn:microsoft.com/office/officeart/2005/8/layout/cycle3"/>
    <dgm:cxn modelId="{5A0D5DB2-C5DB-48CB-9907-7A27769459FE}" type="presOf" srcId="{6DDBC433-E91D-4992-8BFE-9B9C0839ED62}" destId="{5699B605-5A16-44D2-A50F-11F3571767E8}" srcOrd="0" destOrd="0" presId="urn:microsoft.com/office/officeart/2005/8/layout/cycle3"/>
    <dgm:cxn modelId="{ECFF36B4-6E83-4E58-B466-89EF87C75C5D}" srcId="{B74C7B12-5CA5-458D-9C29-CCC3E72B205E}" destId="{B140604A-6E97-48EF-AE71-F3602C39FA2E}" srcOrd="2" destOrd="0" parTransId="{CC9B1A4E-8CD3-4DAB-9958-E4178B6D2A3F}" sibTransId="{272C897E-F736-416A-A799-4BB4A51A39D0}"/>
    <dgm:cxn modelId="{B1C28C61-19F6-431B-941F-167D084EA34C}" srcId="{B74C7B12-5CA5-458D-9C29-CCC3E72B205E}" destId="{ACF6C773-1335-412D-B0CC-32FE29084DF9}" srcOrd="3" destOrd="0" parTransId="{06C9FA35-B3E2-42DB-A425-0405E8427316}" sibTransId="{1370164E-5C39-48C2-B2EB-55F6F2BF7075}"/>
    <dgm:cxn modelId="{B4797FE9-036E-4616-A85F-154D5B396DFD}" type="presOf" srcId="{B140604A-6E97-48EF-AE71-F3602C39FA2E}" destId="{92888D90-E573-446D-82B9-13D0B1ECCB1E}" srcOrd="0" destOrd="0" presId="urn:microsoft.com/office/officeart/2005/8/layout/cycle3"/>
    <dgm:cxn modelId="{C521C02A-671E-4892-A2CF-95154A3320C1}" type="presOf" srcId="{8DA14CBB-5BA5-4DD1-95CE-1264514C45C7}" destId="{0194E357-2D8F-4D53-B82B-5A48619B5AAF}" srcOrd="0" destOrd="0" presId="urn:microsoft.com/office/officeart/2005/8/layout/cycle3"/>
    <dgm:cxn modelId="{E109DC31-87FD-48C5-9F96-9276E68FCA08}" srcId="{B74C7B12-5CA5-458D-9C29-CCC3E72B205E}" destId="{8DA14CBB-5BA5-4DD1-95CE-1264514C45C7}" srcOrd="0" destOrd="0" parTransId="{22E8E870-270F-4A70-B2A1-25CA2D22ABAD}" sibTransId="{6DDBC433-E91D-4992-8BFE-9B9C0839ED62}"/>
    <dgm:cxn modelId="{9DC25848-5AA3-4600-A73E-4D8638BF4F0F}" srcId="{B74C7B12-5CA5-458D-9C29-CCC3E72B205E}" destId="{380D93C0-BFF4-459C-8C01-B35EA5231C26}" srcOrd="1" destOrd="0" parTransId="{9CB3E3A8-6D9B-4DA7-B5A7-E38D842BFFF5}" sibTransId="{93A92F93-3E40-4EE3-ACA8-A6AFACA49311}"/>
    <dgm:cxn modelId="{B043885C-03F1-4A50-8C61-FB5B7D16D7BE}" type="presParOf" srcId="{17ADD7FD-B1B5-453A-BE7E-3987F953AF32}" destId="{5702100E-09A1-45B9-8A2F-FEAD68371E72}" srcOrd="0" destOrd="0" presId="urn:microsoft.com/office/officeart/2005/8/layout/cycle3"/>
    <dgm:cxn modelId="{958588ED-B47E-45ED-A682-A15349309E65}" type="presParOf" srcId="{5702100E-09A1-45B9-8A2F-FEAD68371E72}" destId="{0194E357-2D8F-4D53-B82B-5A48619B5AAF}" srcOrd="0" destOrd="0" presId="urn:microsoft.com/office/officeart/2005/8/layout/cycle3"/>
    <dgm:cxn modelId="{B1C83C25-367D-40BB-B973-22C7FAC0530D}" type="presParOf" srcId="{5702100E-09A1-45B9-8A2F-FEAD68371E72}" destId="{5699B605-5A16-44D2-A50F-11F3571767E8}" srcOrd="1" destOrd="0" presId="urn:microsoft.com/office/officeart/2005/8/layout/cycle3"/>
    <dgm:cxn modelId="{3E97B7C9-7672-48F0-85ED-6E615B2C6DE0}" type="presParOf" srcId="{5702100E-09A1-45B9-8A2F-FEAD68371E72}" destId="{4D36E8CD-C852-400D-B553-BB7EA1CE0021}" srcOrd="2" destOrd="0" presId="urn:microsoft.com/office/officeart/2005/8/layout/cycle3"/>
    <dgm:cxn modelId="{923D13C2-DF4F-447E-BC51-3AB7B07CB028}" type="presParOf" srcId="{5702100E-09A1-45B9-8A2F-FEAD68371E72}" destId="{92888D90-E573-446D-82B9-13D0B1ECCB1E}" srcOrd="3" destOrd="0" presId="urn:microsoft.com/office/officeart/2005/8/layout/cycle3"/>
    <dgm:cxn modelId="{EC5F70BD-766B-47D4-810A-121860191C49}" type="presParOf" srcId="{5702100E-09A1-45B9-8A2F-FEAD68371E72}" destId="{56C6F9F7-E814-4EF1-9D40-B689F6D6B3CD}" srcOrd="4"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99B605-5A16-44D2-A50F-11F3571767E8}">
      <dsp:nvSpPr>
        <dsp:cNvPr id="0" name=""/>
        <dsp:cNvSpPr/>
      </dsp:nvSpPr>
      <dsp:spPr>
        <a:xfrm>
          <a:off x="162855" y="4730"/>
          <a:ext cx="1130653" cy="1130653"/>
        </a:xfrm>
        <a:prstGeom prst="circularArrow">
          <a:avLst>
            <a:gd name="adj1" fmla="val 4668"/>
            <a:gd name="adj2" fmla="val 272909"/>
            <a:gd name="adj3" fmla="val 13868741"/>
            <a:gd name="adj4" fmla="val 17364673"/>
            <a:gd name="adj5" fmla="val 4847"/>
          </a:avLst>
        </a:prstGeom>
        <a:solidFill>
          <a:srgbClr val="00B050"/>
        </a:solidFill>
        <a:ln>
          <a:solidFill>
            <a:sysClr val="windowText" lastClr="000000"/>
          </a:solidFill>
        </a:ln>
        <a:effectLst/>
      </dsp:spPr>
      <dsp:style>
        <a:lnRef idx="0">
          <a:scrgbClr r="0" g="0" b="0"/>
        </a:lnRef>
        <a:fillRef idx="1">
          <a:scrgbClr r="0" g="0" b="0"/>
        </a:fillRef>
        <a:effectRef idx="0">
          <a:scrgbClr r="0" g="0" b="0"/>
        </a:effectRef>
        <a:fontRef idx="minor"/>
      </dsp:style>
    </dsp:sp>
    <dsp:sp modelId="{0194E357-2D8F-4D53-B82B-5A48619B5AAF}">
      <dsp:nvSpPr>
        <dsp:cNvPr id="0" name=""/>
        <dsp:cNvSpPr/>
      </dsp:nvSpPr>
      <dsp:spPr>
        <a:xfrm>
          <a:off x="462224" y="118"/>
          <a:ext cx="531914" cy="265957"/>
        </a:xfrm>
        <a:prstGeom prst="roundRect">
          <a:avLst/>
        </a:prstGeom>
        <a:solidFill>
          <a:srgbClr val="70AD4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Code</a:t>
          </a:r>
          <a:endParaRPr lang="en-US" sz="900" b="1" kern="1200" dirty="0">
            <a:solidFill>
              <a:sysClr val="window" lastClr="FFFFFF"/>
            </a:solidFill>
            <a:latin typeface="Calibri" panose="020F0502020204030204"/>
            <a:ea typeface="+mn-ea"/>
            <a:cs typeface="+mn-cs"/>
          </a:endParaRPr>
        </a:p>
      </dsp:txBody>
      <dsp:txXfrm>
        <a:off x="475207" y="13101"/>
        <a:ext cx="505948" cy="239991"/>
      </dsp:txXfrm>
    </dsp:sp>
    <dsp:sp modelId="{4D36E8CD-C852-400D-B553-BB7EA1CE0021}">
      <dsp:nvSpPr>
        <dsp:cNvPr id="0" name=""/>
        <dsp:cNvSpPr/>
      </dsp:nvSpPr>
      <dsp:spPr>
        <a:xfrm>
          <a:off x="868204" y="406098"/>
          <a:ext cx="531914" cy="265957"/>
        </a:xfrm>
        <a:prstGeom prst="roundRect">
          <a:avLst/>
        </a:prstGeom>
        <a:solidFill>
          <a:srgbClr val="70AD47">
            <a:shade val="80000"/>
            <a:hueOff val="107093"/>
            <a:satOff val="-4303"/>
            <a:lumOff val="920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Run</a:t>
          </a:r>
          <a:endParaRPr lang="en-US" sz="900" b="1" kern="1200" dirty="0">
            <a:solidFill>
              <a:sysClr val="window" lastClr="FFFFFF"/>
            </a:solidFill>
            <a:latin typeface="Calibri" panose="020F0502020204030204"/>
            <a:ea typeface="+mn-ea"/>
            <a:cs typeface="+mn-cs"/>
          </a:endParaRPr>
        </a:p>
      </dsp:txBody>
      <dsp:txXfrm>
        <a:off x="881187" y="419081"/>
        <a:ext cx="505948" cy="239991"/>
      </dsp:txXfrm>
    </dsp:sp>
    <dsp:sp modelId="{92888D90-E573-446D-82B9-13D0B1ECCB1E}">
      <dsp:nvSpPr>
        <dsp:cNvPr id="0" name=""/>
        <dsp:cNvSpPr/>
      </dsp:nvSpPr>
      <dsp:spPr>
        <a:xfrm>
          <a:off x="462224" y="812078"/>
          <a:ext cx="531914" cy="265957"/>
        </a:xfrm>
        <a:prstGeom prst="roundRect">
          <a:avLst/>
        </a:prstGeom>
        <a:solidFill>
          <a:srgbClr val="70AD47">
            <a:shade val="80000"/>
            <a:hueOff val="214187"/>
            <a:satOff val="-8606"/>
            <a:lumOff val="1841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Validate</a:t>
          </a:r>
          <a:endParaRPr lang="en-US" sz="900" b="1" kern="1200" dirty="0">
            <a:solidFill>
              <a:sysClr val="window" lastClr="FFFFFF"/>
            </a:solidFill>
            <a:latin typeface="Calibri" panose="020F0502020204030204"/>
            <a:ea typeface="+mn-ea"/>
            <a:cs typeface="+mn-cs"/>
          </a:endParaRPr>
        </a:p>
      </dsp:txBody>
      <dsp:txXfrm>
        <a:off x="475207" y="825061"/>
        <a:ext cx="505948" cy="239991"/>
      </dsp:txXfrm>
    </dsp:sp>
    <dsp:sp modelId="{56C6F9F7-E814-4EF1-9D40-B689F6D6B3CD}">
      <dsp:nvSpPr>
        <dsp:cNvPr id="0" name=""/>
        <dsp:cNvSpPr/>
      </dsp:nvSpPr>
      <dsp:spPr>
        <a:xfrm>
          <a:off x="56245" y="406098"/>
          <a:ext cx="531914" cy="265957"/>
        </a:xfrm>
        <a:prstGeom prst="roundRect">
          <a:avLst/>
        </a:prstGeom>
        <a:solidFill>
          <a:srgbClr val="70AD47">
            <a:shade val="80000"/>
            <a:hueOff val="321280"/>
            <a:satOff val="-12909"/>
            <a:lumOff val="27628"/>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solidFill>
                <a:sysClr val="window" lastClr="FFFFFF"/>
              </a:solidFill>
              <a:latin typeface="Calibri" panose="020F0502020204030204"/>
              <a:ea typeface="+mn-ea"/>
              <a:cs typeface="+mn-cs"/>
            </a:rPr>
            <a:t>Debug</a:t>
          </a:r>
          <a:endParaRPr lang="en-US" sz="900" b="1" kern="1200" dirty="0">
            <a:solidFill>
              <a:sysClr val="window" lastClr="FFFFFF"/>
            </a:solidFill>
            <a:latin typeface="Calibri" panose="020F0502020204030204"/>
            <a:ea typeface="+mn-ea"/>
            <a:cs typeface="+mn-cs"/>
          </a:endParaRPr>
        </a:p>
      </dsp:txBody>
      <dsp:txXfrm>
        <a:off x="69228" y="419081"/>
        <a:ext cx="505948" cy="239991"/>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3DC2EF-2DD4-443C-A1E4-504624852C39}" type="datetimeFigureOut">
              <a:rPr lang="en-US" smtClean="0"/>
              <a:t>10/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3E149C-3D8C-4451-9741-811C0ADA51F5}" type="slidenum">
              <a:rPr lang="en-US" smtClean="0"/>
              <a:t>‹#›</a:t>
            </a:fld>
            <a:endParaRPr lang="en-US"/>
          </a:p>
        </p:txBody>
      </p:sp>
    </p:spTree>
    <p:extLst>
      <p:ext uri="{BB962C8B-B14F-4D97-AF65-F5344CB8AC3E}">
        <p14:creationId xmlns:p14="http://schemas.microsoft.com/office/powerpoint/2010/main" val="16783262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3E149C-3D8C-4451-9741-811C0ADA51F5}" type="slidenum">
              <a:rPr lang="en-US" smtClean="0"/>
              <a:t>2</a:t>
            </a:fld>
            <a:endParaRPr lang="en-US"/>
          </a:p>
        </p:txBody>
      </p:sp>
    </p:spTree>
    <p:extLst>
      <p:ext uri="{BB962C8B-B14F-4D97-AF65-F5344CB8AC3E}">
        <p14:creationId xmlns:p14="http://schemas.microsoft.com/office/powerpoint/2010/main" val="177183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8.png"/><Relationship Id="rId10" Type="http://schemas.openxmlformats.org/officeDocument/2006/relationships/image" Target="../media/image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8.png"/><Relationship Id="rId10" Type="http://schemas.openxmlformats.org/officeDocument/2006/relationships/image" Target="../media/image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3" name="Freeform 32">
            <a:extLst>
              <a:ext uri="{FF2B5EF4-FFF2-40B4-BE49-F238E27FC236}">
                <a16:creationId xmlns:a16="http://schemas.microsoft.com/office/drawing/2014/main" xmlns="" id="{A6B6DA77-CB9F-419C-8A7C-D5CFE34CC31B}"/>
              </a:ext>
            </a:extLst>
          </p:cNvPr>
          <p:cNvSpPr/>
          <p:nvPr userDrawn="1"/>
        </p:nvSpPr>
        <p:spPr>
          <a:xfrm rot="10800000" flipV="1">
            <a:off x="4572797"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graphicFrame>
        <p:nvGraphicFramePr>
          <p:cNvPr id="4" name="Object 3" hidden="1"/>
          <p:cNvGraphicFramePr>
            <a:graphicFrameLocks noChangeAspect="1"/>
          </p:cNvGraphicFramePr>
          <p:nvPr userDrawn="1">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28">
            <a:extLst>
              <a:ext uri="{FF2B5EF4-FFF2-40B4-BE49-F238E27FC236}">
                <a16:creationId xmlns:a16="http://schemas.microsoft.com/office/drawing/2014/main" xmlns=""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4"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3999346" y="4408993"/>
            <a:ext cx="7921722" cy="869950"/>
          </a:xfrm>
        </p:spPr>
        <p:txBody>
          <a:bodyPr lIns="0" tIns="0" rIns="0" bIns="0" anchor="b">
            <a:normAutofit/>
          </a:bodyPr>
          <a:lstStyle>
            <a:lvl1pPr marL="0" indent="0" algn="r">
              <a:lnSpc>
                <a:spcPct val="100000"/>
              </a:lnSpc>
              <a:buNone/>
              <a:defRPr sz="2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463">
                <a:solidFill>
                  <a:schemeClr val="bg1"/>
                </a:solidFill>
              </a:defRPr>
            </a:lvl2pPr>
          </a:lstStyle>
          <a:p>
            <a:pPr lvl="0"/>
            <a:r>
              <a:rPr lang="en-US" dirty="0"/>
              <a:t>Click to insert title</a:t>
            </a:r>
            <a:endParaRPr lang="pt-PT" dirty="0"/>
          </a:p>
        </p:txBody>
      </p:sp>
      <p:sp>
        <p:nvSpPr>
          <p:cNvPr id="25"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724403" y="5393955"/>
            <a:ext cx="7196668" cy="1196340"/>
          </a:xfrm>
        </p:spPr>
        <p:txBody>
          <a:bodyPr lIns="0" tIns="0" rIns="0" bIns="0">
            <a:normAutofit/>
          </a:bodyPr>
          <a:lstStyle>
            <a:lvl1pPr marL="0" indent="0" algn="r">
              <a:lnSpc>
                <a:spcPct val="100000"/>
              </a:lnSpc>
              <a:buNone/>
              <a:defRPr sz="1463">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975">
                <a:solidFill>
                  <a:schemeClr val="bg1"/>
                </a:solidFill>
              </a:defRPr>
            </a:lvl2pPr>
          </a:lstStyle>
          <a:p>
            <a:pPr lvl="0"/>
            <a:r>
              <a:rPr lang="en-US" dirty="0"/>
              <a:t>Click to insert presenter, location, and date</a:t>
            </a:r>
            <a:endParaRPr lang="pt-PT" dirty="0"/>
          </a:p>
        </p:txBody>
      </p:sp>
      <p:pic>
        <p:nvPicPr>
          <p:cNvPr id="14" name="Graphic 9">
            <a:extLst>
              <a:ext uri="{FF2B5EF4-FFF2-40B4-BE49-F238E27FC236}">
                <a16:creationId xmlns:a16="http://schemas.microsoft.com/office/drawing/2014/main" xmlns="" id="{4B86FC3C-4C67-4716-8E57-445E16FA556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5"/>
            <a:ext cx="2315572" cy="516611"/>
          </a:xfrm>
          <a:prstGeom prst="rect">
            <a:avLst/>
          </a:prstGeom>
        </p:spPr>
      </p:pic>
      <p:cxnSp>
        <p:nvCxnSpPr>
          <p:cNvPr id="3" name="Straight Connector 2"/>
          <p:cNvCxnSpPr/>
          <p:nvPr userDrawn="1"/>
        </p:nvCxnSpPr>
        <p:spPr>
          <a:xfrm>
            <a:off x="2876550" y="323852"/>
            <a:ext cx="0" cy="56197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72410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Shape 15"/>
        <p:cNvGrpSpPr/>
        <p:nvPr/>
      </p:nvGrpSpPr>
      <p:grpSpPr>
        <a:xfrm>
          <a:off x="0" y="0"/>
          <a:ext cx="0" cy="0"/>
          <a:chOff x="0" y="0"/>
          <a:chExt cx="0" cy="0"/>
        </a:xfrm>
      </p:grpSpPr>
      <p:sp>
        <p:nvSpPr>
          <p:cNvPr id="16" name="Shape 16"/>
          <p:cNvSpPr txBox="1">
            <a:spLocks noGrp="1"/>
          </p:cNvSpPr>
          <p:nvPr>
            <p:ph type="title"/>
          </p:nvPr>
        </p:nvSpPr>
        <p:spPr>
          <a:xfrm>
            <a:off x="488952" y="433916"/>
            <a:ext cx="11214098" cy="613832"/>
          </a:xfrm>
          <a:prstGeom prst="rect">
            <a:avLst/>
          </a:prstGeom>
          <a:noFill/>
          <a:ln>
            <a:noFill/>
          </a:ln>
        </p:spPr>
        <p:txBody>
          <a:bodyPr lIns="91425" tIns="91425" rIns="91425" bIns="91425" anchor="t" anchorCtr="0"/>
          <a:lstStyle>
            <a:lvl1pPr rtl="0">
              <a:lnSpc>
                <a:spcPct val="90000"/>
              </a:lnSpc>
              <a:spcBef>
                <a:spcPts val="0"/>
              </a:spcBef>
              <a:defRPr sz="2599" b="1">
                <a:solidFill>
                  <a:schemeClr val="dk2"/>
                </a:solidFill>
                <a:latin typeface="Arial"/>
                <a:ea typeface="Arial"/>
                <a:cs typeface="Arial"/>
                <a:sym typeface="Arial"/>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17" name="Shape 17"/>
          <p:cNvSpPr txBox="1">
            <a:spLocks noGrp="1"/>
          </p:cNvSpPr>
          <p:nvPr>
            <p:ph type="body" idx="1"/>
          </p:nvPr>
        </p:nvSpPr>
        <p:spPr>
          <a:xfrm>
            <a:off x="488953" y="1432983"/>
            <a:ext cx="11214098" cy="553968"/>
          </a:xfrm>
          <a:prstGeom prst="rect">
            <a:avLst/>
          </a:prstGeom>
          <a:noFill/>
          <a:ln>
            <a:noFill/>
          </a:ln>
        </p:spPr>
        <p:txBody>
          <a:bodyPr lIns="91425" tIns="91425" rIns="91425" bIns="91425" anchor="t" anchorCtr="0"/>
          <a:lstStyle>
            <a:lvl1pPr rtl="0">
              <a:spcBef>
                <a:spcPts val="975"/>
              </a:spcBef>
              <a:buClr>
                <a:schemeClr val="accent1"/>
              </a:buClr>
              <a:buFont typeface="Noto Symbol"/>
              <a:buChar char="•"/>
              <a:defRPr sz="1949">
                <a:solidFill>
                  <a:schemeClr val="dk1"/>
                </a:solidFill>
                <a:latin typeface="Arial"/>
                <a:ea typeface="Arial"/>
                <a:cs typeface="Arial"/>
                <a:sym typeface="Arial"/>
              </a:defRPr>
            </a:lvl1pPr>
            <a:lvl2pPr rtl="0">
              <a:spcBef>
                <a:spcPts val="244"/>
              </a:spcBef>
              <a:buClr>
                <a:schemeClr val="accent1"/>
              </a:buClr>
              <a:buFont typeface="Verdana"/>
              <a:buChar char="–"/>
              <a:defRPr sz="1624">
                <a:solidFill>
                  <a:schemeClr val="dk1"/>
                </a:solidFill>
                <a:latin typeface="Arial"/>
                <a:ea typeface="Arial"/>
                <a:cs typeface="Arial"/>
                <a:sym typeface="Arial"/>
              </a:defRPr>
            </a:lvl2pPr>
            <a:lvl3pPr rtl="0">
              <a:spcBef>
                <a:spcPts val="244"/>
              </a:spcBef>
              <a:buClr>
                <a:schemeClr val="accent1"/>
              </a:buClr>
              <a:buFont typeface="Verdana"/>
              <a:buChar char="▪"/>
              <a:defRPr sz="1300">
                <a:solidFill>
                  <a:schemeClr val="dk1"/>
                </a:solidFill>
                <a:latin typeface="Arial"/>
                <a:ea typeface="Arial"/>
                <a:cs typeface="Arial"/>
                <a:sym typeface="Arial"/>
              </a:defRPr>
            </a:lvl3pPr>
            <a:lvl4pPr marL="1347483" indent="-171498" rtl="0">
              <a:spcBef>
                <a:spcPts val="244"/>
              </a:spcBef>
              <a:buClr>
                <a:schemeClr val="accent1"/>
              </a:buClr>
              <a:buFont typeface="Verdana"/>
              <a:buChar char="—"/>
              <a:defRPr sz="975">
                <a:solidFill>
                  <a:schemeClr val="dk1"/>
                </a:solidFill>
                <a:latin typeface="Arial"/>
                <a:ea typeface="Arial"/>
                <a:cs typeface="Arial"/>
                <a:sym typeface="Arial"/>
              </a:defRPr>
            </a:lvl4pPr>
            <a:lvl5pPr rtl="0">
              <a:spcBef>
                <a:spcPts val="244"/>
              </a:spcBef>
              <a:buClr>
                <a:schemeClr val="accent1"/>
              </a:buClr>
              <a:buFont typeface="Verdana"/>
              <a:buChar char="»"/>
              <a:defRPr sz="894">
                <a:solidFill>
                  <a:schemeClr val="dk1"/>
                </a:solidFill>
                <a:latin typeface="Arial"/>
                <a:ea typeface="Arial"/>
                <a:cs typeface="Arial"/>
                <a:sym typeface="Arial"/>
              </a:defRPr>
            </a:lvl5pPr>
            <a:lvl6pPr rtl="0">
              <a:spcBef>
                <a:spcPts val="0"/>
              </a:spcBef>
              <a:defRPr sz="1624">
                <a:solidFill>
                  <a:schemeClr val="dk1"/>
                </a:solidFill>
                <a:latin typeface="Arial"/>
                <a:ea typeface="Arial"/>
                <a:cs typeface="Arial"/>
                <a:sym typeface="Arial"/>
              </a:defRPr>
            </a:lvl6pPr>
            <a:lvl7pPr rtl="0">
              <a:spcBef>
                <a:spcPts val="0"/>
              </a:spcBef>
              <a:defRPr sz="1624">
                <a:solidFill>
                  <a:schemeClr val="dk1"/>
                </a:solidFill>
                <a:latin typeface="Arial"/>
                <a:ea typeface="Arial"/>
                <a:cs typeface="Arial"/>
                <a:sym typeface="Arial"/>
              </a:defRPr>
            </a:lvl7pPr>
            <a:lvl8pPr rtl="0">
              <a:spcBef>
                <a:spcPts val="0"/>
              </a:spcBef>
              <a:defRPr sz="1624">
                <a:solidFill>
                  <a:schemeClr val="dk1"/>
                </a:solidFill>
                <a:latin typeface="Arial"/>
                <a:ea typeface="Arial"/>
                <a:cs typeface="Arial"/>
                <a:sym typeface="Arial"/>
              </a:defRPr>
            </a:lvl8pPr>
            <a:lvl9pPr rtl="0">
              <a:spcBef>
                <a:spcPts val="0"/>
              </a:spcBef>
              <a:defRPr sz="1624">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25934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solidFill>
          <a:srgbClr val="EDEDED"/>
        </a:solidFill>
        <a:effectLst/>
      </p:bgPr>
    </p:bg>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xmlns="" id="{F5641348-8167-4428-AD2D-8F6E106B0B30}"/>
              </a:ext>
            </a:extLst>
          </p:cNvPr>
          <p:cNvSpPr/>
          <p:nvPr userDrawn="1"/>
        </p:nvSpPr>
        <p:spPr>
          <a:xfrm flipV="1">
            <a:off x="-13163" y="2319045"/>
            <a:ext cx="8135970" cy="4565826"/>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897324 w 3897324"/>
              <a:gd name="connsiteY0" fmla="*/ 1129574 h 2181421"/>
              <a:gd name="connsiteX1" fmla="*/ 1841225 w 3897324"/>
              <a:gd name="connsiteY1" fmla="*/ 0 h 2181421"/>
              <a:gd name="connsiteX2" fmla="*/ 6 w 3897324"/>
              <a:gd name="connsiteY2" fmla="*/ 724 h 2181421"/>
              <a:gd name="connsiteX3" fmla="*/ 241226 w 3897324"/>
              <a:gd name="connsiteY3" fmla="*/ 2181421 h 2181421"/>
              <a:gd name="connsiteX4" fmla="*/ 3897324 w 3897324"/>
              <a:gd name="connsiteY4" fmla="*/ 1129574 h 2181421"/>
              <a:gd name="connsiteX0" fmla="*/ 4665782 w 4665782"/>
              <a:gd name="connsiteY0" fmla="*/ 1143912 h 2195759"/>
              <a:gd name="connsiteX1" fmla="*/ 2609683 w 4665782"/>
              <a:gd name="connsiteY1" fmla="*/ 14338 h 2195759"/>
              <a:gd name="connsiteX2" fmla="*/ 1 w 4665782"/>
              <a:gd name="connsiteY2" fmla="*/ 0 h 2195759"/>
              <a:gd name="connsiteX3" fmla="*/ 1009684 w 4665782"/>
              <a:gd name="connsiteY3" fmla="*/ 2195759 h 2195759"/>
              <a:gd name="connsiteX4" fmla="*/ 4665782 w 4665782"/>
              <a:gd name="connsiteY4" fmla="*/ 1143912 h 2195759"/>
              <a:gd name="connsiteX0" fmla="*/ 4665781 w 4665781"/>
              <a:gd name="connsiteY0" fmla="*/ 1143912 h 2195759"/>
              <a:gd name="connsiteX1" fmla="*/ 2609682 w 4665781"/>
              <a:gd name="connsiteY1" fmla="*/ 14338 h 2195759"/>
              <a:gd name="connsiteX2" fmla="*/ 0 w 4665781"/>
              <a:gd name="connsiteY2" fmla="*/ 0 h 2195759"/>
              <a:gd name="connsiteX3" fmla="*/ 1009683 w 4665781"/>
              <a:gd name="connsiteY3" fmla="*/ 2195759 h 2195759"/>
              <a:gd name="connsiteX4" fmla="*/ 4665781 w 4665781"/>
              <a:gd name="connsiteY4" fmla="*/ 1143912 h 2195759"/>
              <a:gd name="connsiteX0" fmla="*/ 4668349 w 4668349"/>
              <a:gd name="connsiteY0" fmla="*/ 1143912 h 2481945"/>
              <a:gd name="connsiteX1" fmla="*/ 2612250 w 4668349"/>
              <a:gd name="connsiteY1" fmla="*/ 14338 h 2481945"/>
              <a:gd name="connsiteX2" fmla="*/ 2568 w 4668349"/>
              <a:gd name="connsiteY2" fmla="*/ 0 h 2481945"/>
              <a:gd name="connsiteX3" fmla="*/ 0 w 4668349"/>
              <a:gd name="connsiteY3" fmla="*/ 2481945 h 2481945"/>
              <a:gd name="connsiteX4" fmla="*/ 4668349 w 4668349"/>
              <a:gd name="connsiteY4" fmla="*/ 1143912 h 2481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8349" h="2481945">
                <a:moveTo>
                  <a:pt x="4668349" y="1143912"/>
                </a:moveTo>
                <a:cubicBezTo>
                  <a:pt x="3662390" y="458754"/>
                  <a:pt x="3222216" y="311659"/>
                  <a:pt x="2612250" y="14338"/>
                </a:cubicBezTo>
                <a:lnTo>
                  <a:pt x="2568" y="0"/>
                </a:lnTo>
                <a:lnTo>
                  <a:pt x="0" y="2481945"/>
                </a:lnTo>
                <a:lnTo>
                  <a:pt x="4668349" y="1143912"/>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17" name="Freeform 10">
            <a:extLst>
              <a:ext uri="{FF2B5EF4-FFF2-40B4-BE49-F238E27FC236}">
                <a16:creationId xmlns:a16="http://schemas.microsoft.com/office/drawing/2014/main" xmlns="" id="{FEA7B5B4-06A7-4B2E-A937-95E21EA12637}"/>
              </a:ext>
            </a:extLst>
          </p:cNvPr>
          <p:cNvSpPr/>
          <p:nvPr userDrawn="1"/>
        </p:nvSpPr>
        <p:spPr>
          <a:xfrm flipV="1">
            <a:off x="-15209" y="1836"/>
            <a:ext cx="8673062" cy="501791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8945 w 5058035"/>
              <a:gd name="connsiteY2" fmla="*/ 709247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4980466"/>
              <a:gd name="connsiteY0" fmla="*/ 2881593 h 2881877"/>
              <a:gd name="connsiteX1" fmla="*/ 0 w 4980466"/>
              <a:gd name="connsiteY1" fmla="*/ 2881877 h 2881877"/>
              <a:gd name="connsiteX2" fmla="*/ 8945 w 4980466"/>
              <a:gd name="connsiteY2" fmla="*/ 654892 h 2881877"/>
              <a:gd name="connsiteX3" fmla="*/ 285375 w 4980466"/>
              <a:gd name="connsiteY3" fmla="*/ 996212 h 2881877"/>
              <a:gd name="connsiteX4" fmla="*/ 4531645 w 4980466"/>
              <a:gd name="connsiteY4" fmla="*/ 43052 h 2881877"/>
              <a:gd name="connsiteX5" fmla="*/ 4583339 w 4980466"/>
              <a:gd name="connsiteY5" fmla="*/ 2881593 h 2881877"/>
              <a:gd name="connsiteX0" fmla="*/ 4583339 w 4976528"/>
              <a:gd name="connsiteY0" fmla="*/ 2878953 h 2879237"/>
              <a:gd name="connsiteX1" fmla="*/ 0 w 4976528"/>
              <a:gd name="connsiteY1" fmla="*/ 2879237 h 2879237"/>
              <a:gd name="connsiteX2" fmla="*/ 8945 w 4976528"/>
              <a:gd name="connsiteY2" fmla="*/ 652252 h 2879237"/>
              <a:gd name="connsiteX3" fmla="*/ 343672 w 4976528"/>
              <a:gd name="connsiteY3" fmla="*/ 1035970 h 2879237"/>
              <a:gd name="connsiteX4" fmla="*/ 4531645 w 4976528"/>
              <a:gd name="connsiteY4" fmla="*/ 40412 h 2879237"/>
              <a:gd name="connsiteX5" fmla="*/ 4583339 w 4976528"/>
              <a:gd name="connsiteY5" fmla="*/ 2878953 h 2879237"/>
              <a:gd name="connsiteX0" fmla="*/ 4583339 w 4976528"/>
              <a:gd name="connsiteY0" fmla="*/ 2878953 h 2879237"/>
              <a:gd name="connsiteX1" fmla="*/ 0 w 4976528"/>
              <a:gd name="connsiteY1" fmla="*/ 2879237 h 2879237"/>
              <a:gd name="connsiteX2" fmla="*/ 2623 w 4976528"/>
              <a:gd name="connsiteY2" fmla="*/ 629073 h 2879237"/>
              <a:gd name="connsiteX3" fmla="*/ 343672 w 4976528"/>
              <a:gd name="connsiteY3" fmla="*/ 1035970 h 2879237"/>
              <a:gd name="connsiteX4" fmla="*/ 4531645 w 4976528"/>
              <a:gd name="connsiteY4" fmla="*/ 40412 h 2879237"/>
              <a:gd name="connsiteX5" fmla="*/ 4583339 w 4976528"/>
              <a:gd name="connsiteY5" fmla="*/ 2878953 h 287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6528" h="2879237">
                <a:moveTo>
                  <a:pt x="4583339" y="2878953"/>
                </a:moveTo>
                <a:lnTo>
                  <a:pt x="0" y="2879237"/>
                </a:lnTo>
                <a:cubicBezTo>
                  <a:pt x="2982" y="2136909"/>
                  <a:pt x="-359" y="1371401"/>
                  <a:pt x="2623" y="629073"/>
                </a:cubicBezTo>
                <a:lnTo>
                  <a:pt x="343672" y="1035970"/>
                </a:lnTo>
                <a:cubicBezTo>
                  <a:pt x="1232960" y="1285954"/>
                  <a:pt x="3825034" y="-266752"/>
                  <a:pt x="4531645" y="40412"/>
                </a:cubicBezTo>
                <a:cubicBezTo>
                  <a:pt x="5238256" y="347576"/>
                  <a:pt x="4985208" y="2290239"/>
                  <a:pt x="4583339" y="287895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18" name="Titre 1"/>
          <p:cNvSpPr>
            <a:spLocks noGrp="1"/>
          </p:cNvSpPr>
          <p:nvPr userDrawn="1">
            <p:ph type="title" hasCustomPrompt="1"/>
            <p:custDataLst>
              <p:tags r:id="rId1"/>
            </p:custDataLst>
          </p:nvPr>
        </p:nvSpPr>
        <p:spPr>
          <a:xfrm>
            <a:off x="432585" y="1117551"/>
            <a:ext cx="7690223" cy="899319"/>
          </a:xfrm>
          <a:prstGeom prst="rect">
            <a:avLst/>
          </a:prstGeom>
        </p:spPr>
        <p:txBody>
          <a:bodyPr vert="horz" lIns="0" tIns="33059" rIns="66118" bIns="33059" rtlCol="0" anchor="ctr" anchorCtr="0">
            <a:noAutofit/>
          </a:bodyPr>
          <a:lstStyle>
            <a:lvl1pPr algn="l" defTabSz="742903" rtl="0" eaLnBrk="1" latinLnBrk="0" hangingPunct="1">
              <a:spcBef>
                <a:spcPct val="0"/>
              </a:spcBef>
              <a:buNone/>
              <a:defRPr lang="en-US" sz="2275" b="0" kern="1200" cap="none" baseline="0" dirty="0" smtClean="0">
                <a:solidFill>
                  <a:srgbClr val="2B0A3D"/>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6" name="Text Placeholder 5"/>
          <p:cNvSpPr>
            <a:spLocks noGrp="1"/>
          </p:cNvSpPr>
          <p:nvPr userDrawn="1">
            <p:ph type="body" sz="quarter" idx="10"/>
          </p:nvPr>
        </p:nvSpPr>
        <p:spPr>
          <a:xfrm>
            <a:off x="432585" y="2096421"/>
            <a:ext cx="7690223" cy="307777"/>
          </a:xfrm>
        </p:spPr>
        <p:txBody>
          <a:bodyPr lIns="0"/>
          <a:lstStyle>
            <a:lvl1pPr marL="0" indent="0" algn="l">
              <a:buNone/>
              <a:defRPr sz="1625">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8" name="Graphic 9">
            <a:extLst>
              <a:ext uri="{FF2B5EF4-FFF2-40B4-BE49-F238E27FC236}">
                <a16:creationId xmlns:a16="http://schemas.microsoft.com/office/drawing/2014/main" xmlns="" id="{EDB08EB4-CC11-42CA-9B89-A01B1DD72FDD}"/>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9262625" y="6097106"/>
            <a:ext cx="2315572" cy="516611"/>
          </a:xfrm>
          <a:prstGeom prst="rect">
            <a:avLst/>
          </a:prstGeom>
        </p:spPr>
      </p:pic>
    </p:spTree>
    <p:extLst>
      <p:ext uri="{BB962C8B-B14F-4D97-AF65-F5344CB8AC3E}">
        <p14:creationId xmlns:p14="http://schemas.microsoft.com/office/powerpoint/2010/main" val="701177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sp>
        <p:nvSpPr>
          <p:cNvPr id="23" name="Rectangle 22"/>
          <p:cNvSpPr/>
          <p:nvPr userDrawn="1"/>
        </p:nvSpPr>
        <p:spPr>
          <a:xfrm>
            <a:off x="0" y="0"/>
            <a:ext cx="12192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7" dirty="0"/>
          </a:p>
        </p:txBody>
      </p:sp>
      <p:sp>
        <p:nvSpPr>
          <p:cNvPr id="13" name="Freeform 32">
            <a:extLst>
              <a:ext uri="{FF2B5EF4-FFF2-40B4-BE49-F238E27FC236}">
                <a16:creationId xmlns:a16="http://schemas.microsoft.com/office/drawing/2014/main" xmlns="" id="{A6B6DA77-CB9F-419C-8A7C-D5CFE34CC31B}"/>
              </a:ext>
            </a:extLst>
          </p:cNvPr>
          <p:cNvSpPr/>
          <p:nvPr userDrawn="1"/>
        </p:nvSpPr>
        <p:spPr>
          <a:xfrm rot="10800000" flipV="1">
            <a:off x="4572797"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graphicFrame>
        <p:nvGraphicFramePr>
          <p:cNvPr id="4" name="Object 3" hidden="1"/>
          <p:cNvGraphicFramePr>
            <a:graphicFrameLocks noChangeAspect="1"/>
          </p:cNvGraphicFramePr>
          <p:nvPr userDrawn="1">
            <p:custDataLst>
              <p:tags r:id="rId2"/>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28">
            <a:extLst>
              <a:ext uri="{FF2B5EF4-FFF2-40B4-BE49-F238E27FC236}">
                <a16:creationId xmlns:a16="http://schemas.microsoft.com/office/drawing/2014/main" xmlns=""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dirty="0"/>
          </a:p>
        </p:txBody>
      </p:sp>
      <p:sp>
        <p:nvSpPr>
          <p:cNvPr id="24" name="Text Placeholder 13">
            <a:extLst>
              <a:ext uri="{FF2B5EF4-FFF2-40B4-BE49-F238E27FC236}">
                <a16:creationId xmlns:a16="http://schemas.microsoft.com/office/drawing/2014/main" xmlns="" id="{7D1DC75A-C7A4-44A4-B19C-D445335545B0}"/>
              </a:ext>
            </a:extLst>
          </p:cNvPr>
          <p:cNvSpPr>
            <a:spLocks noGrp="1"/>
          </p:cNvSpPr>
          <p:nvPr userDrawn="1">
            <p:ph type="body" sz="quarter" idx="11" hasCustomPrompt="1"/>
          </p:nvPr>
        </p:nvSpPr>
        <p:spPr>
          <a:xfrm>
            <a:off x="3999346" y="4408993"/>
            <a:ext cx="7921722" cy="869950"/>
          </a:xfrm>
        </p:spPr>
        <p:txBody>
          <a:bodyPr lIns="0" tIns="0" rIns="0" bIns="0" anchor="b">
            <a:normAutofit/>
          </a:bodyPr>
          <a:lstStyle>
            <a:lvl1pPr marL="0" indent="0" algn="r">
              <a:lnSpc>
                <a:spcPct val="100000"/>
              </a:lnSpc>
              <a:buNone/>
              <a:defRPr sz="2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463">
                <a:solidFill>
                  <a:schemeClr val="bg1"/>
                </a:solidFill>
              </a:defRPr>
            </a:lvl2pPr>
          </a:lstStyle>
          <a:p>
            <a:pPr lvl="0"/>
            <a:r>
              <a:rPr lang="en-US" dirty="0"/>
              <a:t>Click to insert title</a:t>
            </a:r>
            <a:endParaRPr lang="pt-PT" dirty="0"/>
          </a:p>
        </p:txBody>
      </p:sp>
      <p:sp>
        <p:nvSpPr>
          <p:cNvPr id="25" name="Text Placeholder 13">
            <a:extLst>
              <a:ext uri="{FF2B5EF4-FFF2-40B4-BE49-F238E27FC236}">
                <a16:creationId xmlns:a16="http://schemas.microsoft.com/office/drawing/2014/main" xmlns="" id="{563879A0-0979-491A-8758-371BB7AD935B}"/>
              </a:ext>
            </a:extLst>
          </p:cNvPr>
          <p:cNvSpPr>
            <a:spLocks noGrp="1"/>
          </p:cNvSpPr>
          <p:nvPr userDrawn="1">
            <p:ph type="body" sz="quarter" idx="12" hasCustomPrompt="1"/>
          </p:nvPr>
        </p:nvSpPr>
        <p:spPr>
          <a:xfrm>
            <a:off x="4724403" y="5393955"/>
            <a:ext cx="7196668" cy="1196340"/>
          </a:xfrm>
        </p:spPr>
        <p:txBody>
          <a:bodyPr lIns="0" tIns="0" rIns="0" bIns="0">
            <a:normAutofit/>
          </a:bodyPr>
          <a:lstStyle>
            <a:lvl1pPr marL="0" indent="0" algn="r">
              <a:lnSpc>
                <a:spcPct val="100000"/>
              </a:lnSpc>
              <a:buNone/>
              <a:defRPr sz="1463">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975">
                <a:solidFill>
                  <a:schemeClr val="bg1"/>
                </a:solidFill>
              </a:defRPr>
            </a:lvl2pPr>
          </a:lstStyle>
          <a:p>
            <a:pPr lvl="0"/>
            <a:r>
              <a:rPr lang="en-US" dirty="0"/>
              <a:t>Click to insert presenter, location, and date</a:t>
            </a:r>
            <a:endParaRPr lang="pt-PT" dirty="0"/>
          </a:p>
        </p:txBody>
      </p:sp>
      <p:pic>
        <p:nvPicPr>
          <p:cNvPr id="14" name="Graphic 9">
            <a:extLst>
              <a:ext uri="{FF2B5EF4-FFF2-40B4-BE49-F238E27FC236}">
                <a16:creationId xmlns:a16="http://schemas.microsoft.com/office/drawing/2014/main" xmlns="" id="{4B86FC3C-4C67-4716-8E57-445E16FA556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5"/>
            <a:ext cx="2315572" cy="516611"/>
          </a:xfrm>
          <a:prstGeom prst="rect">
            <a:avLst/>
          </a:prstGeom>
        </p:spPr>
      </p:pic>
      <p:cxnSp>
        <p:nvCxnSpPr>
          <p:cNvPr id="3" name="Straight Connector 2"/>
          <p:cNvCxnSpPr/>
          <p:nvPr userDrawn="1"/>
        </p:nvCxnSpPr>
        <p:spPr>
          <a:xfrm>
            <a:off x="2876550" y="323852"/>
            <a:ext cx="0" cy="56197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578299"/>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8264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1065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losing1">
    <p:spTree>
      <p:nvGrpSpPr>
        <p:cNvPr id="1" name=""/>
        <p:cNvGrpSpPr/>
        <p:nvPr/>
      </p:nvGrpSpPr>
      <p:grpSpPr>
        <a:xfrm>
          <a:off x="0" y="0"/>
          <a:ext cx="0" cy="0"/>
          <a:chOff x="0" y="0"/>
          <a:chExt cx="0" cy="0"/>
        </a:xfrm>
      </p:grpSpPr>
      <p:sp>
        <p:nvSpPr>
          <p:cNvPr id="7" name="Rectangle 6"/>
          <p:cNvSpPr/>
          <p:nvPr userDrawn="1"/>
        </p:nvSpPr>
        <p:spPr>
          <a:xfrm>
            <a:off x="0" y="-3875"/>
            <a:ext cx="12192000" cy="6861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lnSpc>
                <a:spcPct val="100000"/>
              </a:lnSpc>
            </a:pPr>
            <a:endParaRPr lang="en-US" sz="1463" dirty="0"/>
          </a:p>
        </p:txBody>
      </p:sp>
      <p:sp>
        <p:nvSpPr>
          <p:cNvPr id="22" name="Freeform 5"/>
          <p:cNvSpPr>
            <a:spLocks/>
          </p:cNvSpPr>
          <p:nvPr userDrawn="1"/>
        </p:nvSpPr>
        <p:spPr bwMode="auto">
          <a:xfrm>
            <a:off x="-5255" y="-10915"/>
            <a:ext cx="5895487" cy="6870574"/>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rgbClr val="300B48"/>
          </a:solidFill>
          <a:ln w="9525">
            <a:noFill/>
            <a:round/>
            <a:headEnd/>
            <a:tailEnd/>
          </a:ln>
          <a:extLst/>
        </p:spPr>
        <p:txBody>
          <a:bodyPr vert="horz" wrap="square" lIns="55721" tIns="27861" rIns="55721" bIns="27861" numCol="1" anchor="t" anchorCtr="0" compatLnSpc="1">
            <a:prstTxWarp prst="textNoShape">
              <a:avLst/>
            </a:prstTxWarp>
          </a:bodyPr>
          <a:lstStyle/>
          <a:p>
            <a:endParaRPr lang="en-US" sz="1463" dirty="0"/>
          </a:p>
        </p:txBody>
      </p:sp>
      <p:sp>
        <p:nvSpPr>
          <p:cNvPr id="14" name="Rectangle 13"/>
          <p:cNvSpPr/>
          <p:nvPr userDrawn="1"/>
        </p:nvSpPr>
        <p:spPr>
          <a:xfrm>
            <a:off x="6657883" y="2883015"/>
            <a:ext cx="4957906" cy="1464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100000"/>
              </a:lnSpc>
            </a:pPr>
            <a:r>
              <a:rPr lang="en-US" sz="813"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8 billion (about $14.4 billion USD at 2017 average rate).</a:t>
            </a:r>
          </a:p>
        </p:txBody>
      </p:sp>
      <p:sp>
        <p:nvSpPr>
          <p:cNvPr id="15" name="Rectangle 14"/>
          <p:cNvSpPr/>
          <p:nvPr userDrawn="1"/>
        </p:nvSpPr>
        <p:spPr>
          <a:xfrm>
            <a:off x="6657883" y="2503546"/>
            <a:ext cx="290509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219"/>
              </a:lnSpc>
            </a:pPr>
            <a:r>
              <a:rPr lang="en-US" sz="1138" b="1" dirty="0">
                <a:solidFill>
                  <a:schemeClr val="accent1"/>
                </a:solidFill>
              </a:rPr>
              <a:t>About Capgemini</a:t>
            </a:r>
          </a:p>
        </p:txBody>
      </p:sp>
      <p:sp>
        <p:nvSpPr>
          <p:cNvPr id="16" name="Rectangle 15"/>
          <p:cNvSpPr/>
          <p:nvPr userDrawn="1"/>
        </p:nvSpPr>
        <p:spPr>
          <a:xfrm>
            <a:off x="6657887" y="4454956"/>
            <a:ext cx="3468945" cy="407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31"/>
              </a:lnSpc>
              <a:spcAft>
                <a:spcPts val="366"/>
              </a:spcAft>
            </a:pPr>
            <a:r>
              <a:rPr lang="en-US" sz="813" dirty="0">
                <a:solidFill>
                  <a:schemeClr val="tx1"/>
                </a:solidFill>
              </a:rPr>
              <a:t>Learn more about us at</a:t>
            </a:r>
          </a:p>
          <a:p>
            <a:pPr algn="just">
              <a:lnSpc>
                <a:spcPts val="731"/>
              </a:lnSpc>
            </a:pPr>
            <a:r>
              <a:rPr lang="en-US" sz="1300" dirty="0">
                <a:solidFill>
                  <a:schemeClr val="accent2"/>
                </a:solidFill>
              </a:rPr>
              <a:t>www.capgemini.com</a:t>
            </a:r>
          </a:p>
        </p:txBody>
      </p:sp>
      <p:sp>
        <p:nvSpPr>
          <p:cNvPr id="23" name="Rectangle 22"/>
          <p:cNvSpPr/>
          <p:nvPr userDrawn="1"/>
        </p:nvSpPr>
        <p:spPr>
          <a:xfrm>
            <a:off x="736176" y="5577962"/>
            <a:ext cx="3595644" cy="451406"/>
          </a:xfrm>
          <a:prstGeom prst="rect">
            <a:avLst/>
          </a:prstGeom>
        </p:spPr>
        <p:txBody>
          <a:bodyPr wrap="square" lIns="0" tIns="0" rIns="0" bIns="0" anchor="b" anchorCtr="0">
            <a:spAutoFit/>
          </a:bodyPr>
          <a:lstStyle/>
          <a:p>
            <a:pPr>
              <a:spcAft>
                <a:spcPts val="366"/>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mn-lt"/>
                <a:cs typeface="Arial"/>
              </a:rPr>
              <a:t>Copyright © 2018 Capgemini. All rights reserved.</a:t>
            </a:r>
            <a:endParaRPr lang="en-US" sz="650" noProof="0" dirty="0">
              <a:solidFill>
                <a:schemeClr val="bg1"/>
              </a:solidFill>
              <a:latin typeface="Arial"/>
              <a:cs typeface="Arial"/>
            </a:endParaRPr>
          </a:p>
          <a:p>
            <a:pPr marL="0" marR="0" indent="0" defTabSz="583633" rtl="0" eaLnBrk="1" fontAlgn="auto" latinLnBrk="0" hangingPunct="1">
              <a:lnSpc>
                <a:spcPct val="100000"/>
              </a:lnSpc>
              <a:spcBef>
                <a:spcPts val="0"/>
              </a:spcBef>
              <a:spcAft>
                <a:spcPts val="366"/>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6657883" y="6019736"/>
            <a:ext cx="4601003" cy="400110"/>
          </a:xfrm>
          <a:prstGeom prst="rect">
            <a:avLst/>
          </a:prstGeom>
        </p:spPr>
        <p:txBody>
          <a:bodyPr wrap="square" lIns="0" tIns="0" rIns="0" bIns="0" anchor="b" anchorCtr="0">
            <a:spAutoFit/>
          </a:bodyPr>
          <a:lstStyle/>
          <a:p>
            <a:pPr>
              <a:spcAft>
                <a:spcPts val="366"/>
              </a:spcAft>
            </a:pPr>
            <a:r>
              <a:rPr lang="en-US" sz="6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7373043" y="3810374"/>
            <a:ext cx="3057068"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p>
        </p:txBody>
      </p:sp>
      <p:sp>
        <p:nvSpPr>
          <p:cNvPr id="26" name="Rectangle 25">
            <a:hlinkClick r:id="rId3"/>
          </p:cNvPr>
          <p:cNvSpPr/>
          <p:nvPr userDrawn="1"/>
        </p:nvSpPr>
        <p:spPr>
          <a:xfrm>
            <a:off x="11956322" y="3809284"/>
            <a:ext cx="922386"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463" dirty="0"/>
          </a:p>
        </p:txBody>
      </p:sp>
      <p:sp>
        <p:nvSpPr>
          <p:cNvPr id="27" name="Rectangle 26">
            <a:hlinkClick r:id="rId4"/>
          </p:cNvPr>
          <p:cNvSpPr/>
          <p:nvPr userDrawn="1"/>
        </p:nvSpPr>
        <p:spPr>
          <a:xfrm>
            <a:off x="6652728" y="4443201"/>
            <a:ext cx="2423132" cy="18355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solidFill>
                <a:schemeClr val="accent1"/>
              </a:solidFill>
            </a:endParaRPr>
          </a:p>
        </p:txBody>
      </p:sp>
      <p:grpSp>
        <p:nvGrpSpPr>
          <p:cNvPr id="2" name="Group 1">
            <a:extLst>
              <a:ext uri="{FF2B5EF4-FFF2-40B4-BE49-F238E27FC236}">
                <a16:creationId xmlns:a16="http://schemas.microsoft.com/office/drawing/2014/main" xmlns="" id="{306B0339-247E-428D-A2C7-711DEFDC3059}"/>
              </a:ext>
            </a:extLst>
          </p:cNvPr>
          <p:cNvGrpSpPr/>
          <p:nvPr userDrawn="1"/>
        </p:nvGrpSpPr>
        <p:grpSpPr>
          <a:xfrm>
            <a:off x="544801" y="3723632"/>
            <a:ext cx="3106831" cy="811423"/>
            <a:chOff x="544801" y="3723632"/>
            <a:chExt cx="2512878" cy="656298"/>
          </a:xfrm>
        </p:grpSpPr>
        <p:pic>
          <p:nvPicPr>
            <p:cNvPr id="35" name="Picture 2" descr="D:\My Work\Template\Icons\Social Media\LinkedIN.png">
              <a:hlinkClick r:id="rId5"/>
              <a:extLst>
                <a:ext uri="{FF2B5EF4-FFF2-40B4-BE49-F238E27FC236}">
                  <a16:creationId xmlns:a16="http://schemas.microsoft.com/office/drawing/2014/main" xmlns="" id="{12784B23-76C7-40AC-99F9-35C0CAF454AA}"/>
                </a:ext>
              </a:extLst>
            </p:cNvPr>
            <p:cNvPicPr>
              <a:picLocks noChangeAspect="1" noChangeArrowheads="1"/>
            </p:cNvPicPr>
            <p:nvPr userDrawn="1"/>
          </p:nvPicPr>
          <p:blipFill>
            <a:blip r:embed="rId6" cstate="print"/>
            <a:srcRect/>
            <a:stretch>
              <a:fillRect/>
            </a:stretch>
          </p:blipFill>
          <p:spPr bwMode="auto">
            <a:xfrm>
              <a:off x="928403" y="3723632"/>
              <a:ext cx="327021" cy="333383"/>
            </a:xfrm>
            <a:prstGeom prst="rect">
              <a:avLst/>
            </a:prstGeom>
            <a:noFill/>
          </p:spPr>
        </p:pic>
        <p:pic>
          <p:nvPicPr>
            <p:cNvPr id="36" name="Picture 4" descr="D:\My Work\Template\Icons\Social Media\SlideShare.png">
              <a:hlinkClick r:id="rId7"/>
              <a:extLst>
                <a:ext uri="{FF2B5EF4-FFF2-40B4-BE49-F238E27FC236}">
                  <a16:creationId xmlns:a16="http://schemas.microsoft.com/office/drawing/2014/main" xmlns="" id="{0CC0D8C0-5DCC-439E-8842-F57BC0D267BD}"/>
                </a:ext>
              </a:extLst>
            </p:cNvPr>
            <p:cNvPicPr>
              <a:picLocks noChangeAspect="1" noChangeArrowheads="1"/>
            </p:cNvPicPr>
            <p:nvPr userDrawn="1"/>
          </p:nvPicPr>
          <p:blipFill>
            <a:blip r:embed="rId8" cstate="print"/>
            <a:srcRect/>
            <a:stretch>
              <a:fillRect/>
            </a:stretch>
          </p:blipFill>
          <p:spPr bwMode="auto">
            <a:xfrm>
              <a:off x="1304676" y="3723632"/>
              <a:ext cx="327021" cy="333383"/>
            </a:xfrm>
            <a:prstGeom prst="rect">
              <a:avLst/>
            </a:prstGeom>
            <a:noFill/>
          </p:spPr>
        </p:pic>
        <p:pic>
          <p:nvPicPr>
            <p:cNvPr id="37" name="Picture 5" descr="D:\My Work\Template\Icons\Social Media\Twitter.png">
              <a:hlinkClick r:id="rId9"/>
              <a:extLst>
                <a:ext uri="{FF2B5EF4-FFF2-40B4-BE49-F238E27FC236}">
                  <a16:creationId xmlns:a16="http://schemas.microsoft.com/office/drawing/2014/main" xmlns="" id="{07DE4EA1-810E-470C-BDD1-6C1B4ED4732A}"/>
                </a:ext>
              </a:extLst>
            </p:cNvPr>
            <p:cNvPicPr>
              <a:picLocks noChangeAspect="1" noChangeArrowheads="1"/>
            </p:cNvPicPr>
            <p:nvPr userDrawn="1"/>
          </p:nvPicPr>
          <p:blipFill>
            <a:blip r:embed="rId10" cstate="print"/>
            <a:srcRect/>
            <a:stretch>
              <a:fillRect/>
            </a:stretch>
          </p:blipFill>
          <p:spPr bwMode="auto">
            <a:xfrm>
              <a:off x="1680948" y="3723632"/>
              <a:ext cx="327021" cy="333383"/>
            </a:xfrm>
            <a:prstGeom prst="rect">
              <a:avLst/>
            </a:prstGeom>
            <a:noFill/>
          </p:spPr>
        </p:pic>
        <p:pic>
          <p:nvPicPr>
            <p:cNvPr id="38" name="Picture 6" descr="D:\My Work\Template\Icons\Social Media\YouTube.png">
              <a:hlinkClick r:id="rId11"/>
              <a:extLst>
                <a:ext uri="{FF2B5EF4-FFF2-40B4-BE49-F238E27FC236}">
                  <a16:creationId xmlns:a16="http://schemas.microsoft.com/office/drawing/2014/main" xmlns="" id="{F15F9BAE-875C-4464-BD5A-0022642E1383}"/>
                </a:ext>
              </a:extLst>
            </p:cNvPr>
            <p:cNvPicPr>
              <a:picLocks noChangeAspect="1" noChangeArrowheads="1"/>
            </p:cNvPicPr>
            <p:nvPr userDrawn="1"/>
          </p:nvPicPr>
          <p:blipFill>
            <a:blip r:embed="rId12" cstate="print"/>
            <a:srcRect/>
            <a:stretch>
              <a:fillRect/>
            </a:stretch>
          </p:blipFill>
          <p:spPr bwMode="auto">
            <a:xfrm>
              <a:off x="2057220" y="3723632"/>
              <a:ext cx="327021" cy="333383"/>
            </a:xfrm>
            <a:prstGeom prst="rect">
              <a:avLst/>
            </a:prstGeom>
            <a:noFill/>
          </p:spPr>
        </p:pic>
        <p:pic>
          <p:nvPicPr>
            <p:cNvPr id="39" name="Picture 7" descr="D:\My Work\Template\Icons\Social Media\Facebook.png">
              <a:hlinkClick r:id="rId13"/>
              <a:extLst>
                <a:ext uri="{FF2B5EF4-FFF2-40B4-BE49-F238E27FC236}">
                  <a16:creationId xmlns:a16="http://schemas.microsoft.com/office/drawing/2014/main" xmlns="" id="{953B38DD-5999-47FE-9882-70330F1A2BE7}"/>
                </a:ext>
              </a:extLst>
            </p:cNvPr>
            <p:cNvPicPr>
              <a:picLocks noChangeAspect="1" noChangeArrowheads="1"/>
            </p:cNvPicPr>
            <p:nvPr userDrawn="1"/>
          </p:nvPicPr>
          <p:blipFill>
            <a:blip r:embed="rId14" cstate="print"/>
            <a:srcRect/>
            <a:stretch>
              <a:fillRect/>
            </a:stretch>
          </p:blipFill>
          <p:spPr bwMode="auto">
            <a:xfrm>
              <a:off x="552129" y="3723632"/>
              <a:ext cx="327021" cy="333383"/>
            </a:xfrm>
            <a:prstGeom prst="rect">
              <a:avLst/>
            </a:prstGeom>
            <a:noFill/>
          </p:spPr>
        </p:pic>
        <p:pic>
          <p:nvPicPr>
            <p:cNvPr id="40" name="Picture 39">
              <a:extLst>
                <a:ext uri="{FF2B5EF4-FFF2-40B4-BE49-F238E27FC236}">
                  <a16:creationId xmlns:a16="http://schemas.microsoft.com/office/drawing/2014/main" xmlns="" id="{04758A39-C26F-462D-B1FF-93326D5CE7F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44801" y="4178804"/>
              <a:ext cx="2512878" cy="201126"/>
            </a:xfrm>
            <a:prstGeom prst="rect">
              <a:avLst/>
            </a:prstGeom>
          </p:spPr>
        </p:pic>
      </p:grpSp>
      <p:grpSp>
        <p:nvGrpSpPr>
          <p:cNvPr id="41" name="Group 40">
            <a:extLst>
              <a:ext uri="{FF2B5EF4-FFF2-40B4-BE49-F238E27FC236}">
                <a16:creationId xmlns:a16="http://schemas.microsoft.com/office/drawing/2014/main" xmlns="" id="{68BE6198-91E6-4C86-98DD-00E969BB26B6}"/>
              </a:ext>
            </a:extLst>
          </p:cNvPr>
          <p:cNvGrpSpPr/>
          <p:nvPr userDrawn="1"/>
        </p:nvGrpSpPr>
        <p:grpSpPr>
          <a:xfrm>
            <a:off x="4752413" y="2407221"/>
            <a:ext cx="805698" cy="762491"/>
            <a:chOff x="5662614" y="3032124"/>
            <a:chExt cx="863600" cy="801689"/>
          </a:xfrm>
        </p:grpSpPr>
        <p:sp>
          <p:nvSpPr>
            <p:cNvPr id="42" name="Freeform 9">
              <a:extLst>
                <a:ext uri="{FF2B5EF4-FFF2-40B4-BE49-F238E27FC236}">
                  <a16:creationId xmlns:a16="http://schemas.microsoft.com/office/drawing/2014/main" xmlns="" id="{BE39A0CB-2463-4E20-99F4-2C39FBE29890}"/>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sp>
          <p:nvSpPr>
            <p:cNvPr id="43" name="Freeform 12">
              <a:extLst>
                <a:ext uri="{FF2B5EF4-FFF2-40B4-BE49-F238E27FC236}">
                  <a16:creationId xmlns:a16="http://schemas.microsoft.com/office/drawing/2014/main" xmlns="" id="{F438DE68-56E5-4013-BCF1-BEE03427D2CA}"/>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grpSp>
    </p:spTree>
    <p:extLst>
      <p:ext uri="{BB962C8B-B14F-4D97-AF65-F5344CB8AC3E}">
        <p14:creationId xmlns:p14="http://schemas.microsoft.com/office/powerpoint/2010/main" val="2510558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9294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sp>
        <p:nvSpPr>
          <p:cNvPr id="4" name="Freeform 1">
            <a:extLst>
              <a:ext uri="{FF2B5EF4-FFF2-40B4-BE49-F238E27FC236}">
                <a16:creationId xmlns:a16="http://schemas.microsoft.com/office/drawing/2014/main" xmlns="" id="{3A2B3FFA-8CD6-45A8-9886-0DF003AA1EC9}"/>
              </a:ext>
            </a:extLst>
          </p:cNvPr>
          <p:cNvSpPr/>
          <p:nvPr userDrawn="1"/>
        </p:nvSpPr>
        <p:spPr>
          <a:xfrm flipH="1">
            <a:off x="4097" y="-16656"/>
            <a:ext cx="6524025" cy="5930412"/>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 name="connsiteX0" fmla="*/ 0 w 7001100"/>
              <a:gd name="connsiteY0" fmla="*/ 0 h 5882010"/>
              <a:gd name="connsiteX1" fmla="*/ 5940370 w 7001100"/>
              <a:gd name="connsiteY1" fmla="*/ 0 h 5882010"/>
              <a:gd name="connsiteX2" fmla="*/ 7001071 w 7001100"/>
              <a:gd name="connsiteY2" fmla="*/ 4961946 h 5882010"/>
              <a:gd name="connsiteX3" fmla="*/ 2709867 w 7001100"/>
              <a:gd name="connsiteY3" fmla="*/ 5339500 h 5882010"/>
              <a:gd name="connsiteX4" fmla="*/ 0 w 7001100"/>
              <a:gd name="connsiteY4" fmla="*/ 0 h 5882010"/>
              <a:gd name="connsiteX0" fmla="*/ 0 w 7001071"/>
              <a:gd name="connsiteY0" fmla="*/ 0 h 5882010"/>
              <a:gd name="connsiteX1" fmla="*/ 5940370 w 7001071"/>
              <a:gd name="connsiteY1" fmla="*/ 0 h 5882010"/>
              <a:gd name="connsiteX2" fmla="*/ 7001071 w 7001071"/>
              <a:gd name="connsiteY2" fmla="*/ 4961946 h 5882010"/>
              <a:gd name="connsiteX3" fmla="*/ 2709867 w 7001071"/>
              <a:gd name="connsiteY3" fmla="*/ 5339500 h 5882010"/>
              <a:gd name="connsiteX4" fmla="*/ 0 w 7001071"/>
              <a:gd name="connsiteY4" fmla="*/ 0 h 5882010"/>
              <a:gd name="connsiteX0" fmla="*/ 0 w 7001071"/>
              <a:gd name="connsiteY0" fmla="*/ 0 h 5882010"/>
              <a:gd name="connsiteX1" fmla="*/ 7001071 w 7001071"/>
              <a:gd name="connsiteY1" fmla="*/ 18472 h 5882010"/>
              <a:gd name="connsiteX2" fmla="*/ 7001071 w 7001071"/>
              <a:gd name="connsiteY2" fmla="*/ 4961946 h 5882010"/>
              <a:gd name="connsiteX3" fmla="*/ 2709867 w 7001071"/>
              <a:gd name="connsiteY3" fmla="*/ 5339500 h 5882010"/>
              <a:gd name="connsiteX4" fmla="*/ 0 w 7001071"/>
              <a:gd name="connsiteY4" fmla="*/ 0 h 5882010"/>
              <a:gd name="connsiteX0" fmla="*/ 0 w 7001071"/>
              <a:gd name="connsiteY0" fmla="*/ 0 h 5921175"/>
              <a:gd name="connsiteX1" fmla="*/ 7001071 w 7001071"/>
              <a:gd name="connsiteY1" fmla="*/ 18472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1071"/>
              <a:gd name="connsiteY0" fmla="*/ 0 h 5921175"/>
              <a:gd name="connsiteX1" fmla="*/ 6991157 w 7001071"/>
              <a:gd name="connsiteY1" fmla="*/ 46181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1071"/>
              <a:gd name="connsiteY0" fmla="*/ 0 h 5921175"/>
              <a:gd name="connsiteX1" fmla="*/ 6991157 w 7001071"/>
              <a:gd name="connsiteY1" fmla="*/ 18472 h 5921175"/>
              <a:gd name="connsiteX2" fmla="*/ 7001071 w 7001071"/>
              <a:gd name="connsiteY2" fmla="*/ 4961946 h 5921175"/>
              <a:gd name="connsiteX3" fmla="*/ 2709867 w 7001071"/>
              <a:gd name="connsiteY3" fmla="*/ 5339500 h 5921175"/>
              <a:gd name="connsiteX4" fmla="*/ 0 w 7001071"/>
              <a:gd name="connsiteY4" fmla="*/ 0 h 5921175"/>
              <a:gd name="connsiteX0" fmla="*/ 0 w 7002025"/>
              <a:gd name="connsiteY0" fmla="*/ 9237 h 5930412"/>
              <a:gd name="connsiteX1" fmla="*/ 7001071 w 7002025"/>
              <a:gd name="connsiteY1" fmla="*/ 0 h 5930412"/>
              <a:gd name="connsiteX2" fmla="*/ 7001071 w 7002025"/>
              <a:gd name="connsiteY2" fmla="*/ 4971183 h 5930412"/>
              <a:gd name="connsiteX3" fmla="*/ 2709867 w 7002025"/>
              <a:gd name="connsiteY3" fmla="*/ 5348737 h 5930412"/>
              <a:gd name="connsiteX4" fmla="*/ 0 w 7002025"/>
              <a:gd name="connsiteY4" fmla="*/ 9237 h 5930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025" h="5930412">
                <a:moveTo>
                  <a:pt x="0" y="9237"/>
                </a:moveTo>
                <a:lnTo>
                  <a:pt x="7001071" y="0"/>
                </a:lnTo>
                <a:cubicBezTo>
                  <a:pt x="7004376" y="1638588"/>
                  <a:pt x="6997766" y="3332595"/>
                  <a:pt x="7001071" y="4971183"/>
                </a:cubicBezTo>
                <a:cubicBezTo>
                  <a:pt x="6789142" y="5479643"/>
                  <a:pt x="3902952" y="6623514"/>
                  <a:pt x="2709867" y="5348737"/>
                </a:cubicBezTo>
                <a:cubicBezTo>
                  <a:pt x="3232707" y="4554785"/>
                  <a:pt x="234667" y="1668816"/>
                  <a:pt x="0" y="9237"/>
                </a:cubicBezTo>
                <a:close/>
              </a:path>
            </a:pathLst>
          </a:custGeom>
          <a:solidFill>
            <a:srgbClr val="0070AD"/>
          </a:solidFill>
          <a:ln w="12700" cap="flat" cmpd="sng" algn="ctr">
            <a:noFill/>
            <a:prstDash val="solid"/>
            <a:miter lim="800000"/>
          </a:ln>
          <a:effectLst/>
        </p:spPr>
        <p:txBody>
          <a:bodyPr rtlCol="0" anchor="ct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3936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977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losing1">
    <p:spTree>
      <p:nvGrpSpPr>
        <p:cNvPr id="1" name=""/>
        <p:cNvGrpSpPr/>
        <p:nvPr/>
      </p:nvGrpSpPr>
      <p:grpSpPr>
        <a:xfrm>
          <a:off x="0" y="0"/>
          <a:ext cx="0" cy="0"/>
          <a:chOff x="0" y="0"/>
          <a:chExt cx="0" cy="0"/>
        </a:xfrm>
      </p:grpSpPr>
      <p:sp>
        <p:nvSpPr>
          <p:cNvPr id="7" name="Rectangle 6"/>
          <p:cNvSpPr/>
          <p:nvPr userDrawn="1"/>
        </p:nvSpPr>
        <p:spPr>
          <a:xfrm>
            <a:off x="0" y="-3875"/>
            <a:ext cx="12192000" cy="6861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lnSpc>
                <a:spcPct val="100000"/>
              </a:lnSpc>
            </a:pPr>
            <a:endParaRPr lang="en-US" sz="1463" dirty="0"/>
          </a:p>
        </p:txBody>
      </p:sp>
      <p:sp>
        <p:nvSpPr>
          <p:cNvPr id="22" name="Freeform 5"/>
          <p:cNvSpPr>
            <a:spLocks/>
          </p:cNvSpPr>
          <p:nvPr userDrawn="1"/>
        </p:nvSpPr>
        <p:spPr bwMode="auto">
          <a:xfrm>
            <a:off x="-5255" y="-10915"/>
            <a:ext cx="5895487" cy="6870574"/>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rgbClr val="300B48"/>
          </a:solidFill>
          <a:ln w="9525">
            <a:noFill/>
            <a:round/>
            <a:headEnd/>
            <a:tailEnd/>
          </a:ln>
          <a:extLst/>
        </p:spPr>
        <p:txBody>
          <a:bodyPr vert="horz" wrap="square" lIns="55721" tIns="27861" rIns="55721" bIns="27861" numCol="1" anchor="t" anchorCtr="0" compatLnSpc="1">
            <a:prstTxWarp prst="textNoShape">
              <a:avLst/>
            </a:prstTxWarp>
          </a:bodyPr>
          <a:lstStyle/>
          <a:p>
            <a:endParaRPr lang="en-US" sz="1463" dirty="0"/>
          </a:p>
        </p:txBody>
      </p:sp>
      <p:sp>
        <p:nvSpPr>
          <p:cNvPr id="14" name="Rectangle 13"/>
          <p:cNvSpPr/>
          <p:nvPr userDrawn="1"/>
        </p:nvSpPr>
        <p:spPr>
          <a:xfrm>
            <a:off x="6657883" y="2883015"/>
            <a:ext cx="4957906" cy="1464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ct val="100000"/>
              </a:lnSpc>
            </a:pPr>
            <a:r>
              <a:rPr lang="en-US" sz="813"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8 billion (about $14.4 billion USD at 2017 average rate).</a:t>
            </a:r>
          </a:p>
        </p:txBody>
      </p:sp>
      <p:sp>
        <p:nvSpPr>
          <p:cNvPr id="15" name="Rectangle 14"/>
          <p:cNvSpPr/>
          <p:nvPr userDrawn="1"/>
        </p:nvSpPr>
        <p:spPr>
          <a:xfrm>
            <a:off x="6657883" y="2503546"/>
            <a:ext cx="290509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219"/>
              </a:lnSpc>
            </a:pPr>
            <a:r>
              <a:rPr lang="en-US" sz="1138" b="1" dirty="0">
                <a:solidFill>
                  <a:schemeClr val="accent1"/>
                </a:solidFill>
              </a:rPr>
              <a:t>About Capgemini</a:t>
            </a:r>
          </a:p>
        </p:txBody>
      </p:sp>
      <p:sp>
        <p:nvSpPr>
          <p:cNvPr id="16" name="Rectangle 15"/>
          <p:cNvSpPr/>
          <p:nvPr userDrawn="1"/>
        </p:nvSpPr>
        <p:spPr>
          <a:xfrm>
            <a:off x="6657887" y="4454956"/>
            <a:ext cx="3468945" cy="407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731"/>
              </a:lnSpc>
              <a:spcAft>
                <a:spcPts val="366"/>
              </a:spcAft>
            </a:pPr>
            <a:r>
              <a:rPr lang="en-US" sz="813" dirty="0">
                <a:solidFill>
                  <a:schemeClr val="tx1"/>
                </a:solidFill>
              </a:rPr>
              <a:t>Learn more about us at</a:t>
            </a:r>
          </a:p>
          <a:p>
            <a:pPr algn="just">
              <a:lnSpc>
                <a:spcPts val="731"/>
              </a:lnSpc>
            </a:pPr>
            <a:r>
              <a:rPr lang="en-US" sz="1300" dirty="0">
                <a:solidFill>
                  <a:schemeClr val="accent2"/>
                </a:solidFill>
              </a:rPr>
              <a:t>www.capgemini.com</a:t>
            </a:r>
          </a:p>
        </p:txBody>
      </p:sp>
      <p:sp>
        <p:nvSpPr>
          <p:cNvPr id="23" name="Rectangle 22"/>
          <p:cNvSpPr/>
          <p:nvPr userDrawn="1"/>
        </p:nvSpPr>
        <p:spPr>
          <a:xfrm>
            <a:off x="736176" y="5577962"/>
            <a:ext cx="3595644" cy="451406"/>
          </a:xfrm>
          <a:prstGeom prst="rect">
            <a:avLst/>
          </a:prstGeom>
        </p:spPr>
        <p:txBody>
          <a:bodyPr wrap="square" lIns="0" tIns="0" rIns="0" bIns="0" anchor="b" anchorCtr="0">
            <a:spAutoFit/>
          </a:bodyPr>
          <a:lstStyle/>
          <a:p>
            <a:pPr>
              <a:spcAft>
                <a:spcPts val="366"/>
              </a:spcAft>
            </a:pPr>
            <a:r>
              <a:rPr lang="en-US" sz="650" noProof="0" dirty="0">
                <a:solidFill>
                  <a:schemeClr val="bg1"/>
                </a:solidFill>
                <a:latin typeface="+mn-lt"/>
                <a:cs typeface="Arial"/>
              </a:rPr>
              <a:t>This message contains information that may be privileged or confidential and is the property of the Capgemini Group.</a:t>
            </a:r>
            <a:br>
              <a:rPr lang="en-US" sz="650" noProof="0" dirty="0">
                <a:solidFill>
                  <a:schemeClr val="bg1"/>
                </a:solidFill>
                <a:latin typeface="+mn-lt"/>
                <a:cs typeface="Arial"/>
              </a:rPr>
            </a:br>
            <a:r>
              <a:rPr lang="en-US" sz="650" noProof="0" dirty="0">
                <a:solidFill>
                  <a:schemeClr val="bg1"/>
                </a:solidFill>
                <a:latin typeface="+mn-lt"/>
                <a:cs typeface="Arial"/>
              </a:rPr>
              <a:t>Copyright © 2018 Capgemini. All rights reserved.</a:t>
            </a:r>
            <a:endParaRPr lang="en-US" sz="650" noProof="0" dirty="0">
              <a:solidFill>
                <a:schemeClr val="bg1"/>
              </a:solidFill>
              <a:latin typeface="Arial"/>
              <a:cs typeface="Arial"/>
            </a:endParaRPr>
          </a:p>
          <a:p>
            <a:pPr marL="0" marR="0" indent="0" defTabSz="583633" rtl="0" eaLnBrk="1" fontAlgn="auto" latinLnBrk="0" hangingPunct="1">
              <a:lnSpc>
                <a:spcPct val="100000"/>
              </a:lnSpc>
              <a:spcBef>
                <a:spcPts val="0"/>
              </a:spcBef>
              <a:spcAft>
                <a:spcPts val="366"/>
              </a:spcAft>
              <a:buClrTx/>
              <a:buSzTx/>
              <a:buFontTx/>
              <a:buNone/>
              <a:tabLst/>
              <a:defRPr/>
            </a:pPr>
            <a:r>
              <a:rPr lang="en-US" sz="650" noProof="0" dirty="0">
                <a:solidFill>
                  <a:schemeClr val="bg1"/>
                </a:solidFill>
                <a:latin typeface="Arial"/>
                <a:cs typeface="Arial"/>
              </a:rPr>
              <a:t>Rightshore</a:t>
            </a:r>
            <a:r>
              <a:rPr lang="en-US" sz="650" baseline="30000" noProof="0" dirty="0">
                <a:solidFill>
                  <a:schemeClr val="bg1"/>
                </a:solidFill>
                <a:latin typeface="Arial"/>
                <a:cs typeface="Arial"/>
              </a:rPr>
              <a:t>®</a:t>
            </a:r>
            <a:r>
              <a:rPr lang="en-US" sz="650" noProof="0" dirty="0">
                <a:solidFill>
                  <a:schemeClr val="bg1"/>
                </a:solidFill>
                <a:latin typeface="Arial"/>
                <a:cs typeface="Arial"/>
              </a:rPr>
              <a:t> is a trademark belonging to Capgemini.</a:t>
            </a:r>
          </a:p>
        </p:txBody>
      </p:sp>
      <p:sp>
        <p:nvSpPr>
          <p:cNvPr id="24" name="Rectangle 23"/>
          <p:cNvSpPr/>
          <p:nvPr userDrawn="1"/>
        </p:nvSpPr>
        <p:spPr>
          <a:xfrm>
            <a:off x="6657883" y="6019736"/>
            <a:ext cx="4601003" cy="400110"/>
          </a:xfrm>
          <a:prstGeom prst="rect">
            <a:avLst/>
          </a:prstGeom>
        </p:spPr>
        <p:txBody>
          <a:bodyPr wrap="square" lIns="0" tIns="0" rIns="0" bIns="0" anchor="b" anchorCtr="0">
            <a:spAutoFit/>
          </a:bodyPr>
          <a:lstStyle/>
          <a:p>
            <a:pPr>
              <a:spcAft>
                <a:spcPts val="366"/>
              </a:spcAft>
            </a:pPr>
            <a:r>
              <a:rPr lang="en-US" sz="65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7373043" y="3810374"/>
            <a:ext cx="3057068"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p>
        </p:txBody>
      </p:sp>
      <p:sp>
        <p:nvSpPr>
          <p:cNvPr id="26" name="Rectangle 25">
            <a:hlinkClick r:id="rId3"/>
          </p:cNvPr>
          <p:cNvSpPr/>
          <p:nvPr userDrawn="1"/>
        </p:nvSpPr>
        <p:spPr>
          <a:xfrm>
            <a:off x="11956322" y="3809284"/>
            <a:ext cx="922386" cy="1247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463" dirty="0"/>
          </a:p>
        </p:txBody>
      </p:sp>
      <p:sp>
        <p:nvSpPr>
          <p:cNvPr id="27" name="Rectangle 26">
            <a:hlinkClick r:id="rId4"/>
          </p:cNvPr>
          <p:cNvSpPr/>
          <p:nvPr userDrawn="1"/>
        </p:nvSpPr>
        <p:spPr>
          <a:xfrm>
            <a:off x="6652728" y="4443201"/>
            <a:ext cx="2423132" cy="183553"/>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721" tIns="27861" rIns="55721" bIns="27861" rtlCol="0" anchor="ctr"/>
          <a:lstStyle/>
          <a:p>
            <a:pPr algn="ctr"/>
            <a:endParaRPr lang="en-GB" sz="1950" dirty="0">
              <a:solidFill>
                <a:schemeClr val="accent1"/>
              </a:solidFill>
            </a:endParaRPr>
          </a:p>
        </p:txBody>
      </p:sp>
      <p:grpSp>
        <p:nvGrpSpPr>
          <p:cNvPr id="2" name="Group 1">
            <a:extLst>
              <a:ext uri="{FF2B5EF4-FFF2-40B4-BE49-F238E27FC236}">
                <a16:creationId xmlns:a16="http://schemas.microsoft.com/office/drawing/2014/main" xmlns="" id="{306B0339-247E-428D-A2C7-711DEFDC3059}"/>
              </a:ext>
            </a:extLst>
          </p:cNvPr>
          <p:cNvGrpSpPr/>
          <p:nvPr userDrawn="1"/>
        </p:nvGrpSpPr>
        <p:grpSpPr>
          <a:xfrm>
            <a:off x="544801" y="3723632"/>
            <a:ext cx="3106831" cy="811423"/>
            <a:chOff x="544801" y="3723632"/>
            <a:chExt cx="2512878" cy="656298"/>
          </a:xfrm>
        </p:grpSpPr>
        <p:pic>
          <p:nvPicPr>
            <p:cNvPr id="35" name="Picture 2" descr="D:\My Work\Template\Icons\Social Media\LinkedIN.png">
              <a:hlinkClick r:id="rId5"/>
              <a:extLst>
                <a:ext uri="{FF2B5EF4-FFF2-40B4-BE49-F238E27FC236}">
                  <a16:creationId xmlns:a16="http://schemas.microsoft.com/office/drawing/2014/main" xmlns="" id="{12784B23-76C7-40AC-99F9-35C0CAF454AA}"/>
                </a:ext>
              </a:extLst>
            </p:cNvPr>
            <p:cNvPicPr>
              <a:picLocks noChangeAspect="1" noChangeArrowheads="1"/>
            </p:cNvPicPr>
            <p:nvPr userDrawn="1"/>
          </p:nvPicPr>
          <p:blipFill>
            <a:blip r:embed="rId6" cstate="print"/>
            <a:srcRect/>
            <a:stretch>
              <a:fillRect/>
            </a:stretch>
          </p:blipFill>
          <p:spPr bwMode="auto">
            <a:xfrm>
              <a:off x="928403" y="3723632"/>
              <a:ext cx="327021" cy="333383"/>
            </a:xfrm>
            <a:prstGeom prst="rect">
              <a:avLst/>
            </a:prstGeom>
            <a:noFill/>
          </p:spPr>
        </p:pic>
        <p:pic>
          <p:nvPicPr>
            <p:cNvPr id="36" name="Picture 4" descr="D:\My Work\Template\Icons\Social Media\SlideShare.png">
              <a:hlinkClick r:id="rId7"/>
              <a:extLst>
                <a:ext uri="{FF2B5EF4-FFF2-40B4-BE49-F238E27FC236}">
                  <a16:creationId xmlns:a16="http://schemas.microsoft.com/office/drawing/2014/main" xmlns="" id="{0CC0D8C0-5DCC-439E-8842-F57BC0D267BD}"/>
                </a:ext>
              </a:extLst>
            </p:cNvPr>
            <p:cNvPicPr>
              <a:picLocks noChangeAspect="1" noChangeArrowheads="1"/>
            </p:cNvPicPr>
            <p:nvPr userDrawn="1"/>
          </p:nvPicPr>
          <p:blipFill>
            <a:blip r:embed="rId8" cstate="print"/>
            <a:srcRect/>
            <a:stretch>
              <a:fillRect/>
            </a:stretch>
          </p:blipFill>
          <p:spPr bwMode="auto">
            <a:xfrm>
              <a:off x="1304676" y="3723632"/>
              <a:ext cx="327021" cy="333383"/>
            </a:xfrm>
            <a:prstGeom prst="rect">
              <a:avLst/>
            </a:prstGeom>
            <a:noFill/>
          </p:spPr>
        </p:pic>
        <p:pic>
          <p:nvPicPr>
            <p:cNvPr id="37" name="Picture 5" descr="D:\My Work\Template\Icons\Social Media\Twitter.png">
              <a:hlinkClick r:id="rId9"/>
              <a:extLst>
                <a:ext uri="{FF2B5EF4-FFF2-40B4-BE49-F238E27FC236}">
                  <a16:creationId xmlns:a16="http://schemas.microsoft.com/office/drawing/2014/main" xmlns="" id="{07DE4EA1-810E-470C-BDD1-6C1B4ED4732A}"/>
                </a:ext>
              </a:extLst>
            </p:cNvPr>
            <p:cNvPicPr>
              <a:picLocks noChangeAspect="1" noChangeArrowheads="1"/>
            </p:cNvPicPr>
            <p:nvPr userDrawn="1"/>
          </p:nvPicPr>
          <p:blipFill>
            <a:blip r:embed="rId10" cstate="print"/>
            <a:srcRect/>
            <a:stretch>
              <a:fillRect/>
            </a:stretch>
          </p:blipFill>
          <p:spPr bwMode="auto">
            <a:xfrm>
              <a:off x="1680948" y="3723632"/>
              <a:ext cx="327021" cy="333383"/>
            </a:xfrm>
            <a:prstGeom prst="rect">
              <a:avLst/>
            </a:prstGeom>
            <a:noFill/>
          </p:spPr>
        </p:pic>
        <p:pic>
          <p:nvPicPr>
            <p:cNvPr id="38" name="Picture 6" descr="D:\My Work\Template\Icons\Social Media\YouTube.png">
              <a:hlinkClick r:id="rId11"/>
              <a:extLst>
                <a:ext uri="{FF2B5EF4-FFF2-40B4-BE49-F238E27FC236}">
                  <a16:creationId xmlns:a16="http://schemas.microsoft.com/office/drawing/2014/main" xmlns="" id="{F15F9BAE-875C-4464-BD5A-0022642E1383}"/>
                </a:ext>
              </a:extLst>
            </p:cNvPr>
            <p:cNvPicPr>
              <a:picLocks noChangeAspect="1" noChangeArrowheads="1"/>
            </p:cNvPicPr>
            <p:nvPr userDrawn="1"/>
          </p:nvPicPr>
          <p:blipFill>
            <a:blip r:embed="rId12" cstate="print"/>
            <a:srcRect/>
            <a:stretch>
              <a:fillRect/>
            </a:stretch>
          </p:blipFill>
          <p:spPr bwMode="auto">
            <a:xfrm>
              <a:off x="2057220" y="3723632"/>
              <a:ext cx="327021" cy="333383"/>
            </a:xfrm>
            <a:prstGeom prst="rect">
              <a:avLst/>
            </a:prstGeom>
            <a:noFill/>
          </p:spPr>
        </p:pic>
        <p:pic>
          <p:nvPicPr>
            <p:cNvPr id="39" name="Picture 7" descr="D:\My Work\Template\Icons\Social Media\Facebook.png">
              <a:hlinkClick r:id="rId13"/>
              <a:extLst>
                <a:ext uri="{FF2B5EF4-FFF2-40B4-BE49-F238E27FC236}">
                  <a16:creationId xmlns:a16="http://schemas.microsoft.com/office/drawing/2014/main" xmlns="" id="{953B38DD-5999-47FE-9882-70330F1A2BE7}"/>
                </a:ext>
              </a:extLst>
            </p:cNvPr>
            <p:cNvPicPr>
              <a:picLocks noChangeAspect="1" noChangeArrowheads="1"/>
            </p:cNvPicPr>
            <p:nvPr userDrawn="1"/>
          </p:nvPicPr>
          <p:blipFill>
            <a:blip r:embed="rId14" cstate="print"/>
            <a:srcRect/>
            <a:stretch>
              <a:fillRect/>
            </a:stretch>
          </p:blipFill>
          <p:spPr bwMode="auto">
            <a:xfrm>
              <a:off x="552129" y="3723632"/>
              <a:ext cx="327021" cy="333383"/>
            </a:xfrm>
            <a:prstGeom prst="rect">
              <a:avLst/>
            </a:prstGeom>
            <a:noFill/>
          </p:spPr>
        </p:pic>
        <p:pic>
          <p:nvPicPr>
            <p:cNvPr id="40" name="Picture 39">
              <a:extLst>
                <a:ext uri="{FF2B5EF4-FFF2-40B4-BE49-F238E27FC236}">
                  <a16:creationId xmlns:a16="http://schemas.microsoft.com/office/drawing/2014/main" xmlns="" id="{04758A39-C26F-462D-B1FF-93326D5CE7F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44801" y="4178804"/>
              <a:ext cx="2512878" cy="201126"/>
            </a:xfrm>
            <a:prstGeom prst="rect">
              <a:avLst/>
            </a:prstGeom>
          </p:spPr>
        </p:pic>
      </p:grpSp>
      <p:grpSp>
        <p:nvGrpSpPr>
          <p:cNvPr id="41" name="Group 40">
            <a:extLst>
              <a:ext uri="{FF2B5EF4-FFF2-40B4-BE49-F238E27FC236}">
                <a16:creationId xmlns:a16="http://schemas.microsoft.com/office/drawing/2014/main" xmlns="" id="{68BE6198-91E6-4C86-98DD-00E969BB26B6}"/>
              </a:ext>
            </a:extLst>
          </p:cNvPr>
          <p:cNvGrpSpPr/>
          <p:nvPr userDrawn="1"/>
        </p:nvGrpSpPr>
        <p:grpSpPr>
          <a:xfrm>
            <a:off x="4752413" y="2407221"/>
            <a:ext cx="805698" cy="762491"/>
            <a:chOff x="5662614" y="3032124"/>
            <a:chExt cx="863600" cy="801689"/>
          </a:xfrm>
        </p:grpSpPr>
        <p:sp>
          <p:nvSpPr>
            <p:cNvPr id="42" name="Freeform 9">
              <a:extLst>
                <a:ext uri="{FF2B5EF4-FFF2-40B4-BE49-F238E27FC236}">
                  <a16:creationId xmlns:a16="http://schemas.microsoft.com/office/drawing/2014/main" xmlns="" id="{BE39A0CB-2463-4E20-99F4-2C39FBE29890}"/>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sp>
          <p:nvSpPr>
            <p:cNvPr id="43" name="Freeform 12">
              <a:extLst>
                <a:ext uri="{FF2B5EF4-FFF2-40B4-BE49-F238E27FC236}">
                  <a16:creationId xmlns:a16="http://schemas.microsoft.com/office/drawing/2014/main" xmlns="" id="{F438DE68-56E5-4013-BCF1-BEE03427D2CA}"/>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3" dirty="0"/>
            </a:p>
          </p:txBody>
        </p:sp>
      </p:grpSp>
    </p:spTree>
    <p:extLst>
      <p:ext uri="{BB962C8B-B14F-4D97-AF65-F5344CB8AC3E}">
        <p14:creationId xmlns:p14="http://schemas.microsoft.com/office/powerpoint/2010/main" val="32596808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xmlns=""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xmlns="" id="{F44B07A7-FBF2-491D-B0F6-7A5448F53F32}"/>
              </a:ext>
            </a:extLst>
          </p:cNvPr>
          <p:cNvSpPr>
            <a:spLocks noGrp="1"/>
          </p:cNvSpPr>
          <p:nvPr>
            <p:ph type="body" sz="quarter" idx="35" hasCustomPrompt="1"/>
          </p:nvPr>
        </p:nvSpPr>
        <p:spPr>
          <a:xfrm>
            <a:off x="407989" y="2439343"/>
            <a:ext cx="4940178" cy="1008112"/>
          </a:xfrm>
          <a:prstGeom prst="rect">
            <a:avLst/>
          </a:prstGeom>
        </p:spPr>
        <p:txBody>
          <a:bodyPr anchor="t">
            <a:noAutofit/>
          </a:bodyPr>
          <a:lstStyle>
            <a:lvl1pPr algn="l">
              <a:lnSpc>
                <a:spcPts val="1463"/>
              </a:lnSpc>
              <a:spcAft>
                <a:spcPts val="488"/>
              </a:spcAft>
              <a:defRPr sz="1300">
                <a:solidFill>
                  <a:schemeClr val="bg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0" name="Text Placeholder 7">
            <a:extLst>
              <a:ext uri="{FF2B5EF4-FFF2-40B4-BE49-F238E27FC236}">
                <a16:creationId xmlns:a16="http://schemas.microsoft.com/office/drawing/2014/main" xmlns="" id="{6956FD36-565A-4468-BCC4-CB7785266950}"/>
              </a:ext>
            </a:extLst>
          </p:cNvPr>
          <p:cNvSpPr>
            <a:spLocks noGrp="1"/>
          </p:cNvSpPr>
          <p:nvPr>
            <p:ph type="body" sz="quarter" idx="36" hasCustomPrompt="1"/>
          </p:nvPr>
        </p:nvSpPr>
        <p:spPr>
          <a:xfrm>
            <a:off x="7896201" y="140492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1" name="Text Placeholder 7">
            <a:extLst>
              <a:ext uri="{FF2B5EF4-FFF2-40B4-BE49-F238E27FC236}">
                <a16:creationId xmlns:a16="http://schemas.microsoft.com/office/drawing/2014/main" xmlns="" id="{16278310-82AA-4E47-A510-E54DC245FB2B}"/>
              </a:ext>
            </a:extLst>
          </p:cNvPr>
          <p:cNvSpPr>
            <a:spLocks noGrp="1"/>
          </p:cNvSpPr>
          <p:nvPr>
            <p:ph type="body" sz="quarter" idx="37" hasCustomPrompt="1"/>
          </p:nvPr>
        </p:nvSpPr>
        <p:spPr>
          <a:xfrm>
            <a:off x="7896201" y="5918247"/>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2" name="Text Placeholder 7">
            <a:extLst>
              <a:ext uri="{FF2B5EF4-FFF2-40B4-BE49-F238E27FC236}">
                <a16:creationId xmlns:a16="http://schemas.microsoft.com/office/drawing/2014/main" xmlns="" id="{ABF327CC-2917-45F5-82B2-75A9F742E63A}"/>
              </a:ext>
            </a:extLst>
          </p:cNvPr>
          <p:cNvSpPr>
            <a:spLocks noGrp="1"/>
          </p:cNvSpPr>
          <p:nvPr>
            <p:ph type="body" sz="quarter" idx="38" hasCustomPrompt="1"/>
          </p:nvPr>
        </p:nvSpPr>
        <p:spPr>
          <a:xfrm>
            <a:off x="7896201" y="501558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3" name="Text Placeholder 7">
            <a:extLst>
              <a:ext uri="{FF2B5EF4-FFF2-40B4-BE49-F238E27FC236}">
                <a16:creationId xmlns:a16="http://schemas.microsoft.com/office/drawing/2014/main" xmlns="" id="{169195DA-4761-45A5-B68F-E20845F04F0C}"/>
              </a:ext>
            </a:extLst>
          </p:cNvPr>
          <p:cNvSpPr>
            <a:spLocks noGrp="1"/>
          </p:cNvSpPr>
          <p:nvPr>
            <p:ph type="body" sz="quarter" idx="39" hasCustomPrompt="1"/>
          </p:nvPr>
        </p:nvSpPr>
        <p:spPr>
          <a:xfrm>
            <a:off x="7896201" y="411291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4" name="Text Placeholder 7">
            <a:extLst>
              <a:ext uri="{FF2B5EF4-FFF2-40B4-BE49-F238E27FC236}">
                <a16:creationId xmlns:a16="http://schemas.microsoft.com/office/drawing/2014/main" xmlns="" id="{343313FC-7C2A-4C39-A322-E5328A14AED9}"/>
              </a:ext>
            </a:extLst>
          </p:cNvPr>
          <p:cNvSpPr>
            <a:spLocks noGrp="1"/>
          </p:cNvSpPr>
          <p:nvPr>
            <p:ph type="body" sz="quarter" idx="40" hasCustomPrompt="1"/>
          </p:nvPr>
        </p:nvSpPr>
        <p:spPr>
          <a:xfrm>
            <a:off x="7896201" y="3210251"/>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25" name="Text Placeholder 7">
            <a:extLst>
              <a:ext uri="{FF2B5EF4-FFF2-40B4-BE49-F238E27FC236}">
                <a16:creationId xmlns:a16="http://schemas.microsoft.com/office/drawing/2014/main" xmlns="" id="{C9E896F1-84B5-4E7A-BD88-FFAFED8559EB}"/>
              </a:ext>
            </a:extLst>
          </p:cNvPr>
          <p:cNvSpPr>
            <a:spLocks noGrp="1"/>
          </p:cNvSpPr>
          <p:nvPr>
            <p:ph type="body" sz="quarter" idx="41" hasCustomPrompt="1"/>
          </p:nvPr>
        </p:nvSpPr>
        <p:spPr>
          <a:xfrm>
            <a:off x="7896201" y="2307586"/>
            <a:ext cx="3887813" cy="524886"/>
          </a:xfrm>
          <a:prstGeom prst="rect">
            <a:avLst/>
          </a:prstGeom>
        </p:spPr>
        <p:txBody>
          <a:bodyPr anchor="ctr">
            <a:noAutofit/>
          </a:bodyPr>
          <a:lstStyle>
            <a:lvl1pPr algn="l">
              <a:lnSpc>
                <a:spcPts val="1300"/>
              </a:lnSpc>
              <a:defRPr sz="1138">
                <a:solidFill>
                  <a:schemeClr val="tx1"/>
                </a:solidFill>
              </a:defRPr>
            </a:lvl1pPr>
            <a:lvl2pPr>
              <a:lnSpc>
                <a:spcPct val="100000"/>
              </a:lnSpc>
              <a:defRPr sz="1138"/>
            </a:lvl2pPr>
            <a:lvl3pPr>
              <a:lnSpc>
                <a:spcPct val="100000"/>
              </a:lnSpc>
              <a:defRPr sz="1138"/>
            </a:lvl3pPr>
            <a:lvl4pPr>
              <a:lnSpc>
                <a:spcPct val="100000"/>
              </a:lnSpc>
              <a:defRPr sz="1138"/>
            </a:lvl4pPr>
            <a:lvl5pPr>
              <a:lnSpc>
                <a:spcPct val="100000"/>
              </a:lnSpc>
              <a:defRPr sz="975"/>
            </a:lvl5pPr>
          </a:lstStyle>
          <a:p>
            <a:pPr lvl="0"/>
            <a:r>
              <a:rPr lang="en-US" dirty="0"/>
              <a:t>Click to insert text</a:t>
            </a:r>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2438"/>
              </a:lnSpc>
            </a:pPr>
            <a:r>
              <a:rPr lang="en-US" dirty="0"/>
              <a:t>Click to add title</a:t>
            </a:r>
            <a:endParaRPr lang="pt-PT" dirty="0"/>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95847" y="6555758"/>
            <a:ext cx="330540" cy="192360"/>
          </a:xfrm>
          <a:prstGeom prst="rect">
            <a:avLst/>
          </a:prstGeom>
        </p:spPr>
        <p:txBody>
          <a:bodyPr wrap="none">
            <a:spAutoFit/>
          </a:bodyPr>
          <a:lstStyle/>
          <a:p>
            <a:pPr algn="r"/>
            <a:fld id="{0502E5A9-B53C-401E-A0E0-4A359BB0A9E5}" type="slidenum">
              <a:rPr lang="en-US" sz="650" smtClean="0">
                <a:solidFill>
                  <a:prstClr val="black">
                    <a:lumMod val="50000"/>
                    <a:lumOff val="50000"/>
                  </a:prstClr>
                </a:solidFill>
                <a:cs typeface="Arial" panose="020B0604020202020204" pitchFamily="34" charset="0"/>
              </a:rPr>
              <a:t>‹#›</a:t>
            </a:fld>
            <a:endParaRPr lang="en-US" sz="65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25101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3"/>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5792421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61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89607" indent="-189607">
              <a:defRPr lang="en-US" sz="1300" b="0" kern="1200" dirty="0" smtClean="0">
                <a:solidFill>
                  <a:schemeClr val="tx1"/>
                </a:solidFill>
                <a:latin typeface="Arial" pitchFamily="34" charset="0"/>
                <a:ea typeface="+mn-ea"/>
                <a:cs typeface="Arial" pitchFamily="34" charset="0"/>
              </a:defRPr>
            </a:lvl1pPr>
            <a:lvl2pPr marL="371475" indent="-181868">
              <a:defRPr lang="en-US" sz="1300" b="0" kern="1200" dirty="0" smtClean="0">
                <a:solidFill>
                  <a:schemeClr val="tx1"/>
                </a:solidFill>
                <a:latin typeface="Arial" pitchFamily="34" charset="0"/>
                <a:ea typeface="+mn-ea"/>
                <a:cs typeface="Arial" pitchFamily="34" charset="0"/>
              </a:defRPr>
            </a:lvl2pPr>
            <a:lvl3pPr>
              <a:defRPr lang="en-US" sz="1138" b="0" kern="1200" dirty="0" smtClean="0">
                <a:solidFill>
                  <a:schemeClr val="tx1"/>
                </a:solidFill>
                <a:latin typeface="Arial" pitchFamily="34" charset="0"/>
                <a:ea typeface="+mn-ea"/>
                <a:cs typeface="Arial" pitchFamily="34" charset="0"/>
              </a:defRPr>
            </a:lvl3pPr>
            <a:lvl4pPr>
              <a:defRPr lang="en-US" sz="975" b="0" kern="1200" dirty="0" smtClean="0">
                <a:solidFill>
                  <a:schemeClr val="tx1"/>
                </a:solidFill>
                <a:latin typeface="Arial" pitchFamily="34" charset="0"/>
                <a:ea typeface="+mn-ea"/>
                <a:cs typeface="Arial" pitchFamily="34" charset="0"/>
              </a:defRPr>
            </a:lvl4pPr>
            <a:lvl5pPr>
              <a:defRPr lang="en-US" sz="975" b="0"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6617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92" y="404827"/>
            <a:ext cx="11016604" cy="863601"/>
          </a:xfrm>
          <a:prstGeom prst="rect">
            <a:avLst/>
          </a:prstGeom>
        </p:spPr>
        <p:txBody>
          <a:bodyPr vert="horz" lIns="0" tIns="0" rIns="0" bIns="0" rtlCol="0" anchor="t">
            <a:normAutofit/>
          </a:bodyPr>
          <a:lstStyle/>
          <a:p>
            <a:pPr lvl="0">
              <a:lnSpc>
                <a:spcPts val="1828"/>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78" y="1412881"/>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1300" dirty="0">
              <a:solidFill>
                <a:schemeClr val="tx2"/>
              </a:solidFill>
              <a:latin typeface="+mj-lt"/>
            </a:endParaRPr>
          </a:p>
        </p:txBody>
      </p:sp>
      <p:sp>
        <p:nvSpPr>
          <p:cNvPr id="6" name="Text Box 8"/>
          <p:cNvSpPr txBox="1">
            <a:spLocks noChangeArrowheads="1"/>
          </p:cNvSpPr>
          <p:nvPr userDrawn="1"/>
        </p:nvSpPr>
        <p:spPr bwMode="gray">
          <a:xfrm>
            <a:off x="11588761"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569">
                <a:solidFill>
                  <a:srgbClr val="969696"/>
                </a:solidFill>
                <a:latin typeface="+mj-lt"/>
              </a:rPr>
              <a:pPr eaLnBrk="0" hangingPunct="0">
                <a:lnSpc>
                  <a:spcPct val="85000"/>
                </a:lnSpc>
              </a:pPr>
              <a:t>‹#›</a:t>
            </a:fld>
            <a:endParaRPr lang="en-US" sz="569" dirty="0">
              <a:solidFill>
                <a:srgbClr val="969696"/>
              </a:solidFill>
              <a:latin typeface="+mj-lt"/>
            </a:endParaRPr>
          </a:p>
        </p:txBody>
      </p:sp>
      <p:sp>
        <p:nvSpPr>
          <p:cNvPr id="7" name="Text Box 9"/>
          <p:cNvSpPr txBox="1">
            <a:spLocks noChangeArrowheads="1"/>
          </p:cNvSpPr>
          <p:nvPr userDrawn="1"/>
        </p:nvSpPr>
        <p:spPr bwMode="gray">
          <a:xfrm>
            <a:off x="5475820" y="6548449"/>
            <a:ext cx="6068484" cy="145424"/>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406" dirty="0">
                <a:solidFill>
                  <a:schemeClr val="tx2"/>
                </a:solidFill>
                <a:latin typeface="+mj-lt"/>
              </a:rPr>
              <a:t>The information contained in this document is proprietary. Copyright © 2018 Capgemini. All rights reserved.</a:t>
            </a:r>
          </a:p>
        </p:txBody>
      </p:sp>
      <p:pic>
        <p:nvPicPr>
          <p:cNvPr id="11" name="Graphic 9">
            <a:extLst>
              <a:ext uri="{FF2B5EF4-FFF2-40B4-BE49-F238E27FC236}">
                <a16:creationId xmlns:a16="http://schemas.microsoft.com/office/drawing/2014/main" xmlns="" id="{8C1361B5-5231-453C-BD67-D6A4C43AFD21}"/>
              </a:ext>
            </a:extLst>
          </p:cNvPr>
          <p:cNvPicPr>
            <a:picLocks noChangeAspect="1"/>
          </p:cNvPicPr>
          <p:nvPr userDrawn="1"/>
        </p:nvPicPr>
        <p:blipFill>
          <a:blip r:embed="rId17">
            <a:extLst>
              <a:ext uri="{96DAC541-7B7A-43D3-8B79-37D633B846F1}">
                <asvg:svgBlip xmlns:asvg="http://schemas.microsoft.com/office/drawing/2016/SVG/main" xmlns="" r:embed="rId18"/>
              </a:ext>
            </a:extLst>
          </a:blip>
          <a:stretch>
            <a:fillRect/>
          </a:stretch>
        </p:blipFill>
        <p:spPr>
          <a:xfrm>
            <a:off x="230123" y="6485090"/>
            <a:ext cx="1059726" cy="236428"/>
          </a:xfrm>
          <a:prstGeom prst="rect">
            <a:avLst/>
          </a:prstGeom>
        </p:spPr>
      </p:pic>
    </p:spTree>
    <p:extLst>
      <p:ext uri="{BB962C8B-B14F-4D97-AF65-F5344CB8AC3E}">
        <p14:creationId xmlns:p14="http://schemas.microsoft.com/office/powerpoint/2010/main" val="366435411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853" r:id="rId12"/>
    <p:sldLayoutId id="2147483854" r:id="rId13"/>
    <p:sldLayoutId id="2147483855" r:id="rId14"/>
    <p:sldLayoutId id="2147483856" r:id="rId15"/>
  </p:sldLayoutIdLst>
  <p:timing>
    <p:tnLst>
      <p:par>
        <p:cTn id="1" dur="indefinite" restart="never" nodeType="tmRoot"/>
      </p:par>
    </p:tnLst>
  </p:timing>
  <p:txStyles>
    <p:titleStyle>
      <a:lvl1pPr algn="l" defTabSz="557213" rtl="0" eaLnBrk="1" latinLnBrk="0" hangingPunct="1">
        <a:lnSpc>
          <a:spcPct val="90000"/>
        </a:lnSpc>
        <a:spcBef>
          <a:spcPct val="0"/>
        </a:spcBef>
        <a:buNone/>
        <a:defRPr sz="1584" kern="1200">
          <a:solidFill>
            <a:schemeClr val="tx2"/>
          </a:solidFill>
          <a:latin typeface="+mj-lt"/>
          <a:ea typeface="+mj-ea"/>
          <a:cs typeface="+mj-cs"/>
        </a:defRPr>
      </a:lvl1pPr>
    </p:titleStyle>
    <p:bodyStyle>
      <a:lvl1pPr marL="0" indent="0" algn="l" defTabSz="557213" rtl="0" eaLnBrk="1" latinLnBrk="0" hangingPunct="1">
        <a:lnSpc>
          <a:spcPts val="1341"/>
        </a:lnSpc>
        <a:spcBef>
          <a:spcPts val="0"/>
        </a:spcBef>
        <a:spcAft>
          <a:spcPts val="366"/>
        </a:spcAft>
        <a:buFont typeface="Arial" panose="020B0604020202020204" pitchFamily="34" charset="0"/>
        <a:buNone/>
        <a:defRPr sz="1097" kern="1200">
          <a:solidFill>
            <a:schemeClr val="tx1"/>
          </a:solidFill>
          <a:latin typeface="+mn-lt"/>
          <a:ea typeface="+mn-ea"/>
          <a:cs typeface="+mn-cs"/>
        </a:defRPr>
      </a:lvl1pPr>
      <a:lvl2pPr marL="141238" indent="-139303" algn="l" defTabSz="557213" rtl="0" eaLnBrk="1" latinLnBrk="0" hangingPunct="1">
        <a:lnSpc>
          <a:spcPts val="1097"/>
        </a:lnSpc>
        <a:spcBef>
          <a:spcPts val="0"/>
        </a:spcBef>
        <a:spcAft>
          <a:spcPts val="366"/>
        </a:spcAft>
        <a:buClr>
          <a:schemeClr val="accent1"/>
        </a:buClr>
        <a:buFont typeface="Wingdings" panose="05000000000000000000" pitchFamily="2" charset="2"/>
        <a:buChar char="§"/>
        <a:defRPr sz="975" kern="1200">
          <a:solidFill>
            <a:schemeClr val="tx1"/>
          </a:solidFill>
          <a:latin typeface="+mn-lt"/>
          <a:ea typeface="+mn-ea"/>
          <a:cs typeface="+mn-cs"/>
        </a:defRPr>
      </a:lvl2pPr>
      <a:lvl3pPr marL="282476" indent="-141238" algn="l" defTabSz="557213" rtl="0" eaLnBrk="1" latinLnBrk="0" hangingPunct="1">
        <a:lnSpc>
          <a:spcPts val="975"/>
        </a:lnSpc>
        <a:spcBef>
          <a:spcPts val="0"/>
        </a:spcBef>
        <a:spcAft>
          <a:spcPts val="366"/>
        </a:spcAft>
        <a:buClr>
          <a:schemeClr val="accent1"/>
        </a:buClr>
        <a:buFont typeface="Arial" panose="020B0604020202020204" pitchFamily="34" charset="0"/>
        <a:buChar char="•"/>
        <a:defRPr sz="853" kern="1200">
          <a:solidFill>
            <a:schemeClr val="tx1"/>
          </a:solidFill>
          <a:latin typeface="+mn-lt"/>
          <a:ea typeface="+mn-ea"/>
          <a:cs typeface="+mn-cs"/>
        </a:defRPr>
      </a:lvl3pPr>
      <a:lvl4pPr marL="415975" indent="-133499" algn="l" defTabSz="557213" rtl="0" eaLnBrk="1" latinLnBrk="0" hangingPunct="1">
        <a:lnSpc>
          <a:spcPts val="853"/>
        </a:lnSpc>
        <a:spcBef>
          <a:spcPts val="0"/>
        </a:spcBef>
        <a:spcAft>
          <a:spcPts val="366"/>
        </a:spcAft>
        <a:buClr>
          <a:schemeClr val="accent1"/>
        </a:buClr>
        <a:buFont typeface="Arial" panose="020B0604020202020204" pitchFamily="34" charset="0"/>
        <a:buChar char="‒"/>
        <a:defRPr sz="731" kern="1200">
          <a:solidFill>
            <a:schemeClr val="tx1"/>
          </a:solidFill>
          <a:latin typeface="+mn-lt"/>
          <a:ea typeface="+mn-ea"/>
          <a:cs typeface="+mn-cs"/>
        </a:defRPr>
      </a:lvl4pPr>
      <a:lvl5pPr marL="1253728"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5pPr>
      <a:lvl6pPr marL="1532334"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6pPr>
      <a:lvl7pPr marL="1810941"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7pPr>
      <a:lvl8pPr marL="2089547"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8pPr>
      <a:lvl9pPr marL="2368153" indent="-139303" algn="l" defTabSz="557213" rtl="0" eaLnBrk="1" latinLnBrk="0" hangingPunct="1">
        <a:lnSpc>
          <a:spcPct val="90000"/>
        </a:lnSpc>
        <a:spcBef>
          <a:spcPts val="305"/>
        </a:spcBef>
        <a:buFont typeface="Arial" panose="020B0604020202020204" pitchFamily="34" charset="0"/>
        <a:buChar char="•"/>
        <a:defRPr sz="1097" kern="1200">
          <a:solidFill>
            <a:schemeClr val="tx1"/>
          </a:solidFill>
          <a:latin typeface="+mn-lt"/>
          <a:ea typeface="+mn-ea"/>
          <a:cs typeface="+mn-cs"/>
        </a:defRPr>
      </a:lvl9pPr>
    </p:bodyStyle>
    <p:otherStyle>
      <a:defPPr>
        <a:defRPr lang="pt-PT"/>
      </a:defPPr>
      <a:lvl1pPr marL="0" algn="l" defTabSz="557213" rtl="0" eaLnBrk="1" latinLnBrk="0" hangingPunct="1">
        <a:defRPr sz="1097" kern="1200">
          <a:solidFill>
            <a:schemeClr val="tx1"/>
          </a:solidFill>
          <a:latin typeface="+mn-lt"/>
          <a:ea typeface="+mn-ea"/>
          <a:cs typeface="+mn-cs"/>
        </a:defRPr>
      </a:lvl1pPr>
      <a:lvl2pPr marL="278606" algn="l" defTabSz="557213" rtl="0" eaLnBrk="1" latinLnBrk="0" hangingPunct="1">
        <a:defRPr sz="1097" kern="1200">
          <a:solidFill>
            <a:schemeClr val="tx1"/>
          </a:solidFill>
          <a:latin typeface="+mn-lt"/>
          <a:ea typeface="+mn-ea"/>
          <a:cs typeface="+mn-cs"/>
        </a:defRPr>
      </a:lvl2pPr>
      <a:lvl3pPr marL="557213" algn="l" defTabSz="557213" rtl="0" eaLnBrk="1" latinLnBrk="0" hangingPunct="1">
        <a:defRPr sz="1097" kern="1200">
          <a:solidFill>
            <a:schemeClr val="tx1"/>
          </a:solidFill>
          <a:latin typeface="+mn-lt"/>
          <a:ea typeface="+mn-ea"/>
          <a:cs typeface="+mn-cs"/>
        </a:defRPr>
      </a:lvl3pPr>
      <a:lvl4pPr marL="835819" algn="l" defTabSz="557213" rtl="0" eaLnBrk="1" latinLnBrk="0" hangingPunct="1">
        <a:defRPr sz="1097" kern="1200">
          <a:solidFill>
            <a:schemeClr val="tx1"/>
          </a:solidFill>
          <a:latin typeface="+mn-lt"/>
          <a:ea typeface="+mn-ea"/>
          <a:cs typeface="+mn-cs"/>
        </a:defRPr>
      </a:lvl4pPr>
      <a:lvl5pPr marL="1114425" algn="l" defTabSz="557213" rtl="0" eaLnBrk="1" latinLnBrk="0" hangingPunct="1">
        <a:defRPr sz="1097" kern="1200">
          <a:solidFill>
            <a:schemeClr val="tx1"/>
          </a:solidFill>
          <a:latin typeface="+mn-lt"/>
          <a:ea typeface="+mn-ea"/>
          <a:cs typeface="+mn-cs"/>
        </a:defRPr>
      </a:lvl5pPr>
      <a:lvl6pPr marL="1393031" algn="l" defTabSz="557213" rtl="0" eaLnBrk="1" latinLnBrk="0" hangingPunct="1">
        <a:defRPr sz="1097" kern="1200">
          <a:solidFill>
            <a:schemeClr val="tx1"/>
          </a:solidFill>
          <a:latin typeface="+mn-lt"/>
          <a:ea typeface="+mn-ea"/>
          <a:cs typeface="+mn-cs"/>
        </a:defRPr>
      </a:lvl6pPr>
      <a:lvl7pPr marL="1671638" algn="l" defTabSz="557213" rtl="0" eaLnBrk="1" latinLnBrk="0" hangingPunct="1">
        <a:defRPr sz="1097" kern="1200">
          <a:solidFill>
            <a:schemeClr val="tx1"/>
          </a:solidFill>
          <a:latin typeface="+mn-lt"/>
          <a:ea typeface="+mn-ea"/>
          <a:cs typeface="+mn-cs"/>
        </a:defRPr>
      </a:lvl7pPr>
      <a:lvl8pPr marL="1950244" algn="l" defTabSz="557213" rtl="0" eaLnBrk="1" latinLnBrk="0" hangingPunct="1">
        <a:defRPr sz="1097" kern="1200">
          <a:solidFill>
            <a:schemeClr val="tx1"/>
          </a:solidFill>
          <a:latin typeface="+mn-lt"/>
          <a:ea typeface="+mn-ea"/>
          <a:cs typeface="+mn-cs"/>
        </a:defRPr>
      </a:lvl8pPr>
      <a:lvl9pPr marL="2228850" algn="l" defTabSz="557213" rtl="0" eaLnBrk="1" latinLnBrk="0" hangingPunct="1">
        <a:defRPr sz="1097"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2" pos="240">
          <p15:clr>
            <a:srgbClr val="F26B43"/>
          </p15:clr>
        </p15:guide>
        <p15:guide id="3" pos="989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microsoft.com/office/2007/relationships/hdphoto" Target="../media/hdphoto3.wdp"/><Relationship Id="rId3" Type="http://schemas.openxmlformats.org/officeDocument/2006/relationships/diagramLayout" Target="../diagrams/layout1.xml"/><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hdphoto" Target="../media/hdphoto2.wdp"/><Relationship Id="rId5" Type="http://schemas.openxmlformats.org/officeDocument/2006/relationships/diagramColors" Target="../diagrams/colors1.xml"/><Relationship Id="rId15" Type="http://schemas.openxmlformats.org/officeDocument/2006/relationships/image" Target="../media/image18.png"/><Relationship Id="rId10" Type="http://schemas.openxmlformats.org/officeDocument/2006/relationships/image" Target="../media/image16.png"/><Relationship Id="rId4" Type="http://schemas.openxmlformats.org/officeDocument/2006/relationships/diagramQuickStyle" Target="../diagrams/quickStyle1.xml"/><Relationship Id="rId9" Type="http://schemas.microsoft.com/office/2007/relationships/hdphoto" Target="../media/hdphoto1.wdp"/><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92500" lnSpcReduction="20000"/>
          </a:bodyPr>
          <a:lstStyle/>
          <a:p>
            <a:r>
              <a:rPr lang="en-US" sz="3600" dirty="0" smtClean="0"/>
              <a:t>Swarah – Food ordering and delivery Web Application </a:t>
            </a:r>
            <a:endParaRPr lang="en-US" sz="36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586" y="93184"/>
            <a:ext cx="3221606"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09114" y="5348377"/>
            <a:ext cx="1195415" cy="1249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4741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19848" y="1107583"/>
            <a:ext cx="4812921" cy="2031325"/>
          </a:xfrm>
          <a:prstGeom prst="rect">
            <a:avLst/>
          </a:prstGeom>
          <a:noFill/>
        </p:spPr>
        <p:txBody>
          <a:bodyPr wrap="none" rtlCol="0">
            <a:spAutoFit/>
          </a:bodyPr>
          <a:lstStyle/>
          <a:p>
            <a:pPr marL="342900" indent="-342900">
              <a:buFont typeface="+mj-lt"/>
              <a:buAutoNum type="arabicPeriod"/>
            </a:pPr>
            <a:endParaRPr lang="en-US" dirty="0" smtClean="0"/>
          </a:p>
          <a:p>
            <a:pPr marL="342900" indent="-342900">
              <a:buFont typeface="+mj-lt"/>
              <a:buAutoNum type="arabicPeriod"/>
            </a:pPr>
            <a:r>
              <a:rPr lang="en-US" dirty="0" smtClean="0"/>
              <a:t>Product Description</a:t>
            </a:r>
            <a:endParaRPr lang="en-US" dirty="0"/>
          </a:p>
          <a:p>
            <a:pPr marL="342900" indent="-342900">
              <a:buFont typeface="+mj-lt"/>
              <a:buAutoNum type="arabicPeriod"/>
            </a:pPr>
            <a:r>
              <a:rPr lang="en-US" dirty="0" smtClean="0"/>
              <a:t>Swarah </a:t>
            </a:r>
            <a:r>
              <a:rPr lang="en-US" dirty="0"/>
              <a:t>– Web Application SDLC flow</a:t>
            </a:r>
          </a:p>
          <a:p>
            <a:pPr marL="342900" indent="-342900">
              <a:buFont typeface="+mj-lt"/>
              <a:buAutoNum type="arabicPeriod"/>
            </a:pPr>
            <a:r>
              <a:rPr lang="en-US" dirty="0" smtClean="0"/>
              <a:t>3</a:t>
            </a:r>
            <a:r>
              <a:rPr lang="en-US" baseline="30000" dirty="0" smtClean="0"/>
              <a:t>rd</a:t>
            </a:r>
            <a:r>
              <a:rPr lang="en-US" dirty="0" smtClean="0"/>
              <a:t> Party integration details</a:t>
            </a:r>
            <a:endParaRPr lang="en-US" dirty="0"/>
          </a:p>
          <a:p>
            <a:pPr marL="342900" indent="-342900">
              <a:buFont typeface="+mj-lt"/>
              <a:buAutoNum type="arabicPeriod"/>
            </a:pPr>
            <a:r>
              <a:rPr lang="en-US" dirty="0" smtClean="0"/>
              <a:t>Data analytics description</a:t>
            </a:r>
            <a:endParaRPr lang="en-US" dirty="0"/>
          </a:p>
          <a:p>
            <a:r>
              <a:rPr lang="en-US" dirty="0"/>
              <a:t>5. Any questions</a:t>
            </a:r>
          </a:p>
          <a:p>
            <a:endParaRPr lang="en-US" dirty="0"/>
          </a:p>
        </p:txBody>
      </p:sp>
      <p:sp>
        <p:nvSpPr>
          <p:cNvPr id="6" name="Rounded Rectangle 5"/>
          <p:cNvSpPr/>
          <p:nvPr/>
        </p:nvSpPr>
        <p:spPr>
          <a:xfrm>
            <a:off x="0" y="63301"/>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genda :</a:t>
            </a:r>
            <a:endParaRPr lang="en-US" sz="2000" b="1"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94" y="6115050"/>
            <a:ext cx="1666875" cy="742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66033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032715" y="616271"/>
            <a:ext cx="9028091" cy="2308324"/>
          </a:xfrm>
          <a:prstGeom prst="rect">
            <a:avLst/>
          </a:prstGeom>
          <a:noFill/>
        </p:spPr>
        <p:txBody>
          <a:bodyPr wrap="square" rtlCol="0">
            <a:spAutoFit/>
          </a:bodyPr>
          <a:lstStyle/>
          <a:p>
            <a:pPr marL="171450" indent="-171450">
              <a:buFont typeface="Wingdings" panose="05000000000000000000" pitchFamily="2" charset="2"/>
              <a:buChar char="Ø"/>
            </a:pPr>
            <a:r>
              <a:rPr lang="en-US" sz="1200" dirty="0" smtClean="0"/>
              <a:t>The vision </a:t>
            </a:r>
            <a:r>
              <a:rPr lang="en-GB" sz="1200" dirty="0"/>
              <a:t>of </a:t>
            </a:r>
            <a:r>
              <a:rPr lang="en-GB" sz="1200" dirty="0" smtClean="0"/>
              <a:t>this application is to provide online food ordering and delivery service to every customers and </a:t>
            </a:r>
            <a:r>
              <a:rPr lang="en-GB" sz="1200" dirty="0"/>
              <a:t>to grow as a digital platform </a:t>
            </a:r>
            <a:endParaRPr lang="en-GB" sz="1200" dirty="0" smtClean="0"/>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The product will utilize cloud services as a t</a:t>
            </a:r>
            <a:r>
              <a:rPr lang="en-GB" sz="1200" dirty="0" smtClean="0"/>
              <a:t>echnology </a:t>
            </a:r>
            <a:r>
              <a:rPr lang="en-GB" sz="1200" dirty="0"/>
              <a:t>platform </a:t>
            </a:r>
            <a:r>
              <a:rPr lang="en-GB" sz="1200" dirty="0" smtClean="0"/>
              <a:t>that will allow our customers </a:t>
            </a:r>
            <a:r>
              <a:rPr lang="en-GB" sz="1200" dirty="0"/>
              <a:t>to order food from nearby restaurants and get it delivered at their </a:t>
            </a:r>
            <a:r>
              <a:rPr lang="en-GB" sz="1200" dirty="0" smtClean="0"/>
              <a:t>doorstep.</a:t>
            </a:r>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SWARAH will entirely be a cloud native application which defines to be developed and deployed on azure cloud platform.</a:t>
            </a:r>
          </a:p>
          <a:p>
            <a:pPr marL="171450" indent="-171450">
              <a:buFont typeface="Wingdings" panose="05000000000000000000" pitchFamily="2" charset="2"/>
              <a:buChar char="Ø"/>
            </a:pPr>
            <a:endParaRPr lang="en-GB" sz="1200" dirty="0"/>
          </a:p>
          <a:p>
            <a:pPr marL="171450" indent="-171450">
              <a:buFont typeface="Wingdings" panose="05000000000000000000" pitchFamily="2" charset="2"/>
              <a:buChar char="Ø"/>
            </a:pPr>
            <a:r>
              <a:rPr lang="en-GB" sz="1200" dirty="0" smtClean="0"/>
              <a:t>I am also going to use Azure DevOps to deploy the solution on Azure Web App which is a PaaS service . Here I do not need to worry about the infrastructure required as Azure Web App is fully managed service for web application deployment.</a:t>
            </a:r>
            <a:endParaRPr lang="en-US" sz="1200" dirty="0"/>
          </a:p>
        </p:txBody>
      </p:sp>
      <p:sp>
        <p:nvSpPr>
          <p:cNvPr id="34" name="Rounded Rectangle 3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lvl="8"/>
            <a:r>
              <a:rPr lang="en-US" sz="2000" b="1" dirty="0" smtClean="0"/>
              <a:t>         Product Description</a:t>
            </a:r>
            <a:endParaRPr lang="en-US" sz="2000" b="1"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83" y="6462392"/>
            <a:ext cx="1407082" cy="313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386" y="745666"/>
            <a:ext cx="1420643" cy="1540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26029" y="5607169"/>
            <a:ext cx="11678424" cy="923330"/>
          </a:xfrm>
          <a:prstGeom prst="rect">
            <a:avLst/>
          </a:prstGeom>
          <a:noFill/>
        </p:spPr>
        <p:txBody>
          <a:bodyPr wrap="square" rtlCol="0">
            <a:spAutoFit/>
          </a:bodyPr>
          <a:lstStyle/>
          <a:p>
            <a:r>
              <a:rPr lang="en-GB" dirty="0"/>
              <a:t>Scope : </a:t>
            </a:r>
            <a:r>
              <a:rPr lang="en-GB" dirty="0" smtClean="0"/>
              <a:t>The </a:t>
            </a:r>
            <a:r>
              <a:rPr lang="en-GB" dirty="0"/>
              <a:t>scope of the POC deliverable is to plan, design and build a functional website in the </a:t>
            </a:r>
            <a:r>
              <a:rPr lang="en-GB" dirty="0" smtClean="0"/>
              <a:t>Cloud environment </a:t>
            </a:r>
            <a:r>
              <a:rPr lang="en-GB" dirty="0"/>
              <a:t>that will enable the </a:t>
            </a:r>
            <a:r>
              <a:rPr lang="en-GB" dirty="0" smtClean="0"/>
              <a:t>customers to order food, track and get it delivered easily from Internet using this website.</a:t>
            </a:r>
            <a:endParaRPr lang="en-GB" dirty="0"/>
          </a:p>
        </p:txBody>
      </p:sp>
      <p:sp>
        <p:nvSpPr>
          <p:cNvPr id="12" name="Oval 11"/>
          <p:cNvSpPr/>
          <p:nvPr/>
        </p:nvSpPr>
        <p:spPr>
          <a:xfrm>
            <a:off x="2610846" y="4201064"/>
            <a:ext cx="1590218" cy="931653"/>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Customer</a:t>
            </a:r>
            <a:endParaRPr lang="en-GB" sz="12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7168" name="Oval 7167"/>
          <p:cNvSpPr/>
          <p:nvPr/>
        </p:nvSpPr>
        <p:spPr>
          <a:xfrm>
            <a:off x="4767531" y="2924593"/>
            <a:ext cx="1477993" cy="845389"/>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Restaurant</a:t>
            </a:r>
            <a:endParaRPr lang="en-GB" sz="1200" dirty="0"/>
          </a:p>
        </p:txBody>
      </p:sp>
      <p:sp>
        <p:nvSpPr>
          <p:cNvPr id="40" name="Oval 39"/>
          <p:cNvSpPr/>
          <p:nvPr/>
        </p:nvSpPr>
        <p:spPr>
          <a:xfrm>
            <a:off x="6859437" y="4201064"/>
            <a:ext cx="1406106" cy="845389"/>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effectLst>
                  <a:outerShdw blurRad="38100" dist="38100" dir="2700000" algn="tl">
                    <a:srgbClr val="000000">
                      <a:alpha val="43137"/>
                    </a:srgbClr>
                  </a:outerShdw>
                </a:effectLst>
              </a:rPr>
              <a:t>Delivery executive</a:t>
            </a:r>
            <a:endParaRPr lang="en-GB" sz="1200" dirty="0">
              <a:effectLst>
                <a:outerShdw blurRad="38100" dist="38100" dir="2700000" algn="tl">
                  <a:srgbClr val="000000">
                    <a:alpha val="43137"/>
                  </a:srgbClr>
                </a:outerShdw>
              </a:effectLst>
            </a:endParaRPr>
          </a:p>
        </p:txBody>
      </p:sp>
      <p:cxnSp>
        <p:nvCxnSpPr>
          <p:cNvPr id="7171" name="Straight Arrow Connector 7170"/>
          <p:cNvCxnSpPr>
            <a:endCxn id="7168" idx="2"/>
          </p:cNvCxnSpPr>
          <p:nvPr/>
        </p:nvCxnSpPr>
        <p:spPr>
          <a:xfrm flipV="1">
            <a:off x="3666226" y="3347288"/>
            <a:ext cx="1101305" cy="8537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4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8266" y="3788481"/>
            <a:ext cx="440109" cy="47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6" name="Straight Arrow Connector 45"/>
          <p:cNvCxnSpPr>
            <a:stCxn id="7168" idx="6"/>
          </p:cNvCxnSpPr>
          <p:nvPr/>
        </p:nvCxnSpPr>
        <p:spPr>
          <a:xfrm>
            <a:off x="6245524" y="3347288"/>
            <a:ext cx="1130061" cy="8537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40" idx="2"/>
          </p:cNvCxnSpPr>
          <p:nvPr/>
        </p:nvCxnSpPr>
        <p:spPr>
          <a:xfrm flipH="1">
            <a:off x="4216878" y="4623759"/>
            <a:ext cx="2642559" cy="215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180" name="TextBox 7179"/>
          <p:cNvSpPr txBox="1"/>
          <p:nvPr/>
        </p:nvSpPr>
        <p:spPr>
          <a:xfrm rot="19244396">
            <a:off x="3700340" y="3412812"/>
            <a:ext cx="819509" cy="400110"/>
          </a:xfrm>
          <a:prstGeom prst="rect">
            <a:avLst/>
          </a:prstGeom>
          <a:noFill/>
        </p:spPr>
        <p:txBody>
          <a:bodyPr wrap="square" rtlCol="0">
            <a:spAutoFit/>
          </a:bodyPr>
          <a:lstStyle/>
          <a:p>
            <a:r>
              <a:rPr lang="en-GB" sz="1000" dirty="0" smtClean="0"/>
              <a:t>Discovery + Order</a:t>
            </a:r>
            <a:endParaRPr lang="en-GB" sz="1000" dirty="0"/>
          </a:p>
        </p:txBody>
      </p:sp>
      <p:sp>
        <p:nvSpPr>
          <p:cNvPr id="56" name="TextBox 55"/>
          <p:cNvSpPr txBox="1"/>
          <p:nvPr/>
        </p:nvSpPr>
        <p:spPr>
          <a:xfrm rot="2241480">
            <a:off x="6321940" y="3605890"/>
            <a:ext cx="1223901" cy="246221"/>
          </a:xfrm>
          <a:prstGeom prst="rect">
            <a:avLst/>
          </a:prstGeom>
          <a:noFill/>
        </p:spPr>
        <p:txBody>
          <a:bodyPr wrap="square" rtlCol="0">
            <a:spAutoFit/>
          </a:bodyPr>
          <a:lstStyle/>
          <a:p>
            <a:r>
              <a:rPr lang="en-GB" sz="1000" dirty="0" smtClean="0"/>
              <a:t>Dispatch order</a:t>
            </a:r>
            <a:endParaRPr lang="en-GB" sz="1000" dirty="0"/>
          </a:p>
        </p:txBody>
      </p:sp>
      <p:sp>
        <p:nvSpPr>
          <p:cNvPr id="57" name="TextBox 56"/>
          <p:cNvSpPr txBox="1"/>
          <p:nvPr/>
        </p:nvSpPr>
        <p:spPr>
          <a:xfrm>
            <a:off x="4831107" y="4627416"/>
            <a:ext cx="1514428" cy="246221"/>
          </a:xfrm>
          <a:prstGeom prst="rect">
            <a:avLst/>
          </a:prstGeom>
          <a:noFill/>
        </p:spPr>
        <p:txBody>
          <a:bodyPr wrap="square" rtlCol="0">
            <a:spAutoFit/>
          </a:bodyPr>
          <a:lstStyle/>
          <a:p>
            <a:r>
              <a:rPr lang="en-GB" sz="1000" dirty="0" smtClean="0"/>
              <a:t>Delivery + Tracking</a:t>
            </a:r>
            <a:endParaRPr lang="en-GB" sz="1000" dirty="0"/>
          </a:p>
        </p:txBody>
      </p:sp>
      <p:sp>
        <p:nvSpPr>
          <p:cNvPr id="7184" name="TextBox 7183"/>
          <p:cNvSpPr txBox="1"/>
          <p:nvPr/>
        </p:nvSpPr>
        <p:spPr>
          <a:xfrm>
            <a:off x="5194420" y="4265670"/>
            <a:ext cx="787801" cy="246221"/>
          </a:xfrm>
          <a:prstGeom prst="rect">
            <a:avLst/>
          </a:prstGeom>
          <a:noFill/>
        </p:spPr>
        <p:txBody>
          <a:bodyPr wrap="square" rtlCol="0">
            <a:spAutoFit/>
          </a:bodyPr>
          <a:lstStyle/>
          <a:p>
            <a:r>
              <a:rPr lang="en-GB" sz="1000" dirty="0" smtClean="0">
                <a:effectLst>
                  <a:outerShdw blurRad="38100" dist="38100" dir="2700000" algn="tl">
                    <a:srgbClr val="000000">
                      <a:alpha val="43137"/>
                    </a:srgbClr>
                  </a:outerShdw>
                </a:effectLst>
              </a:rPr>
              <a:t>SWARAH</a:t>
            </a:r>
            <a:endParaRPr lang="en-GB" sz="1000" dirty="0">
              <a:effectLst>
                <a:outerShdw blurRad="38100" dist="38100" dir="2700000" algn="tl">
                  <a:srgbClr val="000000">
                    <a:alpha val="43137"/>
                  </a:srgbClr>
                </a:outerShdw>
              </a:effectLst>
            </a:endParaRPr>
          </a:p>
        </p:txBody>
      </p:sp>
      <p:sp>
        <p:nvSpPr>
          <p:cNvPr id="7185" name="TextBox 7184"/>
          <p:cNvSpPr txBox="1"/>
          <p:nvPr/>
        </p:nvSpPr>
        <p:spPr>
          <a:xfrm>
            <a:off x="256707" y="2285999"/>
            <a:ext cx="1482000" cy="400110"/>
          </a:xfrm>
          <a:prstGeom prst="rect">
            <a:avLst/>
          </a:prstGeom>
          <a:noFill/>
        </p:spPr>
        <p:txBody>
          <a:bodyPr wrap="square" rtlCol="0">
            <a:spAutoFit/>
          </a:bodyPr>
          <a:lstStyle/>
          <a:p>
            <a:r>
              <a:rPr lang="en-GB" sz="2000" b="1" dirty="0" smtClean="0">
                <a:effectLst>
                  <a:outerShdw blurRad="38100" dist="38100" dir="2700000" algn="tl">
                    <a:srgbClr val="000000">
                      <a:alpha val="43137"/>
                    </a:srgbClr>
                  </a:outerShdw>
                </a:effectLst>
              </a:rPr>
              <a:t>SWARAH</a:t>
            </a:r>
            <a:endParaRPr lang="en-GB" sz="20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39366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Diamond 98"/>
          <p:cNvSpPr/>
          <p:nvPr/>
        </p:nvSpPr>
        <p:spPr>
          <a:xfrm>
            <a:off x="3340910" y="2729306"/>
            <a:ext cx="1314181" cy="936690"/>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Build Success?</a:t>
            </a:r>
          </a:p>
        </p:txBody>
      </p:sp>
      <p:graphicFrame>
        <p:nvGraphicFramePr>
          <p:cNvPr id="100" name="Diagram 99"/>
          <p:cNvGraphicFramePr/>
          <p:nvPr>
            <p:extLst>
              <p:ext uri="{D42A27DB-BD31-4B8C-83A1-F6EECF244321}">
                <p14:modId xmlns:p14="http://schemas.microsoft.com/office/powerpoint/2010/main" val="4139151943"/>
              </p:ext>
            </p:extLst>
          </p:nvPr>
        </p:nvGraphicFramePr>
        <p:xfrm>
          <a:off x="932694" y="1380569"/>
          <a:ext cx="1456364" cy="1078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1" name="Straight Arrow Connector 100"/>
          <p:cNvCxnSpPr>
            <a:stCxn id="110" idx="3"/>
            <a:endCxn id="99" idx="1"/>
          </p:cNvCxnSpPr>
          <p:nvPr/>
        </p:nvCxnSpPr>
        <p:spPr>
          <a:xfrm flipV="1">
            <a:off x="2998856" y="3197651"/>
            <a:ext cx="342054" cy="2224"/>
          </a:xfrm>
          <a:prstGeom prst="straightConnector1">
            <a:avLst/>
          </a:prstGeom>
          <a:noFill/>
          <a:ln w="38100" cap="flat" cmpd="sng" algn="ctr">
            <a:solidFill>
              <a:sysClr val="windowText" lastClr="000000"/>
            </a:solidFill>
            <a:prstDash val="solid"/>
            <a:miter lim="800000"/>
            <a:tailEnd type="triangle"/>
          </a:ln>
          <a:effectLst/>
        </p:spPr>
      </p:cxnSp>
      <p:cxnSp>
        <p:nvCxnSpPr>
          <p:cNvPr id="102" name="Straight Arrow Connector 101"/>
          <p:cNvCxnSpPr>
            <a:stCxn id="99" idx="3"/>
            <a:endCxn id="160" idx="1"/>
          </p:cNvCxnSpPr>
          <p:nvPr/>
        </p:nvCxnSpPr>
        <p:spPr>
          <a:xfrm>
            <a:off x="4655091" y="3197651"/>
            <a:ext cx="647148" cy="1996"/>
          </a:xfrm>
          <a:prstGeom prst="straightConnector1">
            <a:avLst/>
          </a:prstGeom>
          <a:noFill/>
          <a:ln w="38100" cap="flat" cmpd="sng" algn="ctr">
            <a:solidFill>
              <a:srgbClr val="00B050"/>
            </a:solidFill>
            <a:prstDash val="solid"/>
            <a:miter lim="800000"/>
            <a:tailEnd type="triangle"/>
          </a:ln>
          <a:effectLst/>
        </p:spPr>
      </p:cxnSp>
      <p:grpSp>
        <p:nvGrpSpPr>
          <p:cNvPr id="103" name="Group 102"/>
          <p:cNvGrpSpPr/>
          <p:nvPr/>
        </p:nvGrpSpPr>
        <p:grpSpPr>
          <a:xfrm>
            <a:off x="175112" y="2748791"/>
            <a:ext cx="1218609" cy="898153"/>
            <a:chOff x="292468" y="2423335"/>
            <a:chExt cx="1071439" cy="856095"/>
          </a:xfrm>
          <a:solidFill>
            <a:schemeClr val="bg2">
              <a:lumMod val="75000"/>
            </a:schemeClr>
          </a:solidFill>
        </p:grpSpPr>
        <p:sp>
          <p:nvSpPr>
            <p:cNvPr id="104" name="Rectangle 103"/>
            <p:cNvSpPr/>
            <p:nvPr/>
          </p:nvSpPr>
          <p:spPr>
            <a:xfrm>
              <a:off x="292468" y="2423335"/>
              <a:ext cx="1071439" cy="856095"/>
            </a:xfrm>
            <a:prstGeom prst="rect">
              <a:avLst/>
            </a:prstGeom>
            <a:solidFill>
              <a:schemeClr val="bg1">
                <a:lumMod val="6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Source Code </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Control</a:t>
              </a:r>
            </a:p>
            <a:p>
              <a:pPr marL="0" marR="0" lvl="0" indent="0" algn="ctr" defTabSz="914400" eaLnBrk="1" fontAlgn="auto" latinLnBrk="0" hangingPunct="1">
                <a:lnSpc>
                  <a:spcPct val="75000"/>
                </a:lnSpc>
                <a:spcBef>
                  <a:spcPts val="0"/>
                </a:spcBef>
                <a:spcAft>
                  <a:spcPts val="0"/>
                </a:spcAft>
                <a:buClrTx/>
                <a:buSzTx/>
                <a:buFontTx/>
                <a:buNone/>
                <a:tabLst/>
                <a:defRPr/>
              </a:pPr>
              <a:r>
                <a:rPr lang="en-US" sz="1100" b="1" kern="0" dirty="0" err="1" smtClean="0">
                  <a:solidFill>
                    <a:prstClr val="black"/>
                  </a:solidFill>
                  <a:latin typeface="Calibri Light" panose="020F0302020204030204"/>
                </a:rPr>
                <a:t>Dev</a:t>
              </a:r>
              <a:r>
                <a:rPr lang="en-US" sz="1100" b="1" kern="0" dirty="0" smtClean="0">
                  <a:solidFill>
                    <a:prstClr val="black"/>
                  </a:solidFill>
                  <a:latin typeface="Calibri Light" panose="020F0302020204030204"/>
                </a:rPr>
                <a:t> Branch</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05"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297019" y="2439950"/>
              <a:ext cx="217542" cy="222752"/>
            </a:xfrm>
            <a:prstGeom prst="rect">
              <a:avLst/>
            </a:prstGeom>
            <a:grpFill/>
            <a:extLst/>
          </p:spPr>
        </p:pic>
      </p:grpSp>
      <p:grpSp>
        <p:nvGrpSpPr>
          <p:cNvPr id="109" name="Group 108"/>
          <p:cNvGrpSpPr/>
          <p:nvPr/>
        </p:nvGrpSpPr>
        <p:grpSpPr>
          <a:xfrm>
            <a:off x="1785529" y="2748792"/>
            <a:ext cx="1213327" cy="902166"/>
            <a:chOff x="1725538" y="2423334"/>
            <a:chExt cx="1213327" cy="902166"/>
          </a:xfrm>
        </p:grpSpPr>
        <p:sp>
          <p:nvSpPr>
            <p:cNvPr id="110" name="Rectangle 109"/>
            <p:cNvSpPr/>
            <p:nvPr/>
          </p:nvSpPr>
          <p:spPr>
            <a:xfrm>
              <a:off x="1725538" y="2423334"/>
              <a:ext cx="1213327" cy="902166"/>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Tes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13" name="Picture 112"/>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85551" y="2935640"/>
              <a:ext cx="356645" cy="341738"/>
            </a:xfrm>
            <a:prstGeom prst="rect">
              <a:avLst/>
            </a:prstGeom>
          </p:spPr>
        </p:pic>
      </p:grpSp>
      <p:grpSp>
        <p:nvGrpSpPr>
          <p:cNvPr id="114" name="Group 113"/>
          <p:cNvGrpSpPr/>
          <p:nvPr/>
        </p:nvGrpSpPr>
        <p:grpSpPr>
          <a:xfrm>
            <a:off x="0" y="785288"/>
            <a:ext cx="900601" cy="824163"/>
            <a:chOff x="455721" y="136410"/>
            <a:chExt cx="610433" cy="531554"/>
          </a:xfrm>
        </p:grpSpPr>
        <p:sp>
          <p:nvSpPr>
            <p:cNvPr id="115" name="Rounded Rectangle 89"/>
            <p:cNvSpPr/>
            <p:nvPr/>
          </p:nvSpPr>
          <p:spPr>
            <a:xfrm>
              <a:off x="455721" y="506442"/>
              <a:ext cx="610433" cy="161522"/>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Light" panose="020F0302020204030204"/>
                  <a:ea typeface="+mn-ea"/>
                  <a:cs typeface="+mn-cs"/>
                </a:rPr>
                <a:t>Developer</a:t>
              </a:r>
            </a:p>
          </p:txBody>
        </p:sp>
        <p:pic>
          <p:nvPicPr>
            <p:cNvPr id="116" name="Picture 115"/>
            <p:cNvPicPr>
              <a:picLocks noChangeAspect="1"/>
            </p:cNvPicPr>
            <p:nvPr/>
          </p:nvPicPr>
          <p:blipFill>
            <a:blip r:embed="rId10" cstate="print">
              <a:biLevel thresh="2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flipH="1">
              <a:off x="601539" y="136410"/>
              <a:ext cx="310350" cy="310350"/>
            </a:xfrm>
            <a:prstGeom prst="rect">
              <a:avLst/>
            </a:prstGeom>
          </p:spPr>
        </p:pic>
      </p:grpSp>
      <p:sp>
        <p:nvSpPr>
          <p:cNvPr id="117" name="TextBox 116"/>
          <p:cNvSpPr txBox="1"/>
          <p:nvPr/>
        </p:nvSpPr>
        <p:spPr>
          <a:xfrm>
            <a:off x="4442584" y="3319103"/>
            <a:ext cx="1251328" cy="400110"/>
          </a:xfrm>
          <a:prstGeom prst="rect">
            <a:avLst/>
          </a:prstGeom>
          <a:noFill/>
        </p:spPr>
        <p:txBody>
          <a:bodyPr wrap="square" rtlCol="0">
            <a:spAutoFit/>
          </a:bodyPr>
          <a:lstStyle/>
          <a:p>
            <a:r>
              <a:rPr lang="en-US" sz="1000" b="1" i="1" dirty="0" smtClean="0">
                <a:solidFill>
                  <a:prstClr val="black"/>
                </a:solidFill>
                <a:latin typeface="Calibri" panose="020F0502020204030204"/>
              </a:rPr>
              <a:t>Trigger Release Cycle through </a:t>
            </a:r>
            <a:endParaRPr lang="en-US" sz="1000" b="1" i="1" dirty="0">
              <a:solidFill>
                <a:prstClr val="black"/>
              </a:solidFill>
              <a:latin typeface="Calibri" panose="020F0502020204030204"/>
            </a:endParaRPr>
          </a:p>
        </p:txBody>
      </p:sp>
      <p:cxnSp>
        <p:nvCxnSpPr>
          <p:cNvPr id="118" name="Elbow Connector 117"/>
          <p:cNvCxnSpPr>
            <a:stCxn id="135" idx="2"/>
            <a:endCxn id="136" idx="1"/>
          </p:cNvCxnSpPr>
          <p:nvPr/>
        </p:nvCxnSpPr>
        <p:spPr>
          <a:xfrm rot="16200000" flipH="1">
            <a:off x="7707718" y="3659386"/>
            <a:ext cx="696560" cy="564443"/>
          </a:xfrm>
          <a:prstGeom prst="bentConnector2">
            <a:avLst/>
          </a:prstGeom>
          <a:noFill/>
          <a:ln w="19050" cap="flat" cmpd="sng" algn="ctr">
            <a:solidFill>
              <a:srgbClr val="FF0000"/>
            </a:solidFill>
            <a:prstDash val="solid"/>
            <a:miter lim="800000"/>
            <a:tailEnd type="triangle"/>
          </a:ln>
          <a:effectLst/>
        </p:spPr>
      </p:cxnSp>
      <p:cxnSp>
        <p:nvCxnSpPr>
          <p:cNvPr id="119" name="Straight Arrow Connector 118"/>
          <p:cNvCxnSpPr>
            <a:stCxn id="135" idx="3"/>
            <a:endCxn id="133" idx="1"/>
          </p:cNvCxnSpPr>
          <p:nvPr/>
        </p:nvCxnSpPr>
        <p:spPr>
          <a:xfrm flipV="1">
            <a:off x="8496906" y="3195152"/>
            <a:ext cx="317882" cy="2040"/>
          </a:xfrm>
          <a:prstGeom prst="straightConnector1">
            <a:avLst/>
          </a:prstGeom>
          <a:noFill/>
          <a:ln w="38100" cap="flat" cmpd="sng" algn="ctr">
            <a:solidFill>
              <a:srgbClr val="00B050"/>
            </a:solidFill>
            <a:prstDash val="solid"/>
            <a:miter lim="800000"/>
            <a:tailEnd type="triangle"/>
          </a:ln>
          <a:effectLst/>
        </p:spPr>
      </p:cxnSp>
      <p:sp>
        <p:nvSpPr>
          <p:cNvPr id="120" name="TextBox 119"/>
          <p:cNvSpPr txBox="1"/>
          <p:nvPr/>
        </p:nvSpPr>
        <p:spPr>
          <a:xfrm>
            <a:off x="10984547" y="2509006"/>
            <a:ext cx="1399360" cy="369332"/>
          </a:xfrm>
          <a:prstGeom prst="rect">
            <a:avLst/>
          </a:prstGeom>
          <a:noFill/>
        </p:spPr>
        <p:txBody>
          <a:bodyPr wrap="square" rtlCol="0">
            <a:spAutoFit/>
          </a:bodyPr>
          <a:lstStyle/>
          <a:p>
            <a:r>
              <a:rPr lang="en-US" sz="900" b="1" i="1" dirty="0" smtClean="0">
                <a:solidFill>
                  <a:prstClr val="black"/>
                </a:solidFill>
                <a:latin typeface="Calibri" panose="020F0502020204030204"/>
              </a:rPr>
              <a:t>Take Approval for QA Deployment</a:t>
            </a:r>
            <a:endParaRPr lang="en-US" sz="900" b="1" i="1" dirty="0">
              <a:solidFill>
                <a:prstClr val="black"/>
              </a:solidFill>
              <a:latin typeface="Calibri" panose="020F0502020204030204"/>
            </a:endParaRPr>
          </a:p>
        </p:txBody>
      </p:sp>
      <p:sp>
        <p:nvSpPr>
          <p:cNvPr id="121" name="Rectangle 120"/>
          <p:cNvSpPr/>
          <p:nvPr/>
        </p:nvSpPr>
        <p:spPr>
          <a:xfrm>
            <a:off x="8496906" y="5224983"/>
            <a:ext cx="1021375" cy="760797"/>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QA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122" name="Group 121"/>
          <p:cNvGrpSpPr/>
          <p:nvPr/>
        </p:nvGrpSpPr>
        <p:grpSpPr>
          <a:xfrm>
            <a:off x="4192955" y="3511818"/>
            <a:ext cx="1175370" cy="388737"/>
            <a:chOff x="7585836" y="2814612"/>
            <a:chExt cx="1025961" cy="341738"/>
          </a:xfrm>
        </p:grpSpPr>
        <p:pic>
          <p:nvPicPr>
            <p:cNvPr id="123" name="Picture 122"/>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585836" y="2814612"/>
              <a:ext cx="356645" cy="341738"/>
            </a:xfrm>
            <a:prstGeom prst="rect">
              <a:avLst/>
            </a:prstGeom>
          </p:spPr>
        </p:pic>
        <p:sp>
          <p:nvSpPr>
            <p:cNvPr id="124" name="TextBox 123"/>
            <p:cNvSpPr txBox="1"/>
            <p:nvPr/>
          </p:nvSpPr>
          <p:spPr>
            <a:xfrm>
              <a:off x="7829345" y="2904476"/>
              <a:ext cx="782452" cy="216452"/>
            </a:xfrm>
            <a:prstGeom prst="rect">
              <a:avLst/>
            </a:prstGeom>
            <a:noFill/>
          </p:spPr>
          <p:txBody>
            <a:bodyPr wrap="none" rtlCol="0">
              <a:spAutoFit/>
            </a:bodyPr>
            <a:lstStyle/>
            <a:p>
              <a:r>
                <a:rPr lang="en-US" sz="1000" b="1" dirty="0" smtClean="0">
                  <a:solidFill>
                    <a:prstClr val="black"/>
                  </a:solidFill>
                  <a:latin typeface="Calibri Light" panose="020F0302020204030204"/>
                </a:rPr>
                <a:t>Azure DevOps</a:t>
              </a:r>
              <a:endParaRPr lang="en-US" sz="1000" b="1" dirty="0">
                <a:solidFill>
                  <a:prstClr val="black"/>
                </a:solidFill>
                <a:latin typeface="Calibri Light" panose="020F0302020204030204"/>
              </a:endParaRPr>
            </a:p>
          </p:txBody>
        </p:sp>
      </p:grpSp>
      <p:sp>
        <p:nvSpPr>
          <p:cNvPr id="132" name="Down Arrow 131"/>
          <p:cNvSpPr/>
          <p:nvPr/>
        </p:nvSpPr>
        <p:spPr>
          <a:xfrm>
            <a:off x="182416" y="1652356"/>
            <a:ext cx="490590" cy="1037434"/>
          </a:xfrm>
          <a:prstGeom prst="downArrow">
            <a:avLst/>
          </a:prstGeom>
          <a:solidFill>
            <a:srgbClr val="FFC000"/>
          </a:solidFill>
          <a:ln w="12700" cap="flat" cmpd="sng" algn="ctr">
            <a:solidFill>
              <a:sysClr val="windowText" lastClr="000000"/>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Code Check in</a:t>
            </a:r>
          </a:p>
        </p:txBody>
      </p:sp>
      <p:sp>
        <p:nvSpPr>
          <p:cNvPr id="133" name="Rectangle 132"/>
          <p:cNvSpPr/>
          <p:nvPr/>
        </p:nvSpPr>
        <p:spPr>
          <a:xfrm>
            <a:off x="8814788" y="2826416"/>
            <a:ext cx="882501" cy="737472"/>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Diamond 133"/>
          <p:cNvSpPr/>
          <p:nvPr/>
        </p:nvSpPr>
        <p:spPr>
          <a:xfrm>
            <a:off x="8530162" y="529367"/>
            <a:ext cx="1451752" cy="61365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Success?</a:t>
            </a:r>
          </a:p>
        </p:txBody>
      </p:sp>
      <p:sp>
        <p:nvSpPr>
          <p:cNvPr id="135" name="Diamond 134"/>
          <p:cNvSpPr/>
          <p:nvPr/>
        </p:nvSpPr>
        <p:spPr>
          <a:xfrm>
            <a:off x="7050648" y="2801056"/>
            <a:ext cx="1446258" cy="792272"/>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sp>
        <p:nvSpPr>
          <p:cNvPr id="136" name="Rounded Rectangle 135"/>
          <p:cNvSpPr/>
          <p:nvPr/>
        </p:nvSpPr>
        <p:spPr>
          <a:xfrm>
            <a:off x="8338220" y="4066719"/>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37" name="Elbow Connector 136"/>
          <p:cNvCxnSpPr>
            <a:stCxn id="134" idx="1"/>
            <a:endCxn id="154" idx="3"/>
          </p:cNvCxnSpPr>
          <p:nvPr/>
        </p:nvCxnSpPr>
        <p:spPr>
          <a:xfrm rot="10800000" flipV="1">
            <a:off x="7674458" y="836196"/>
            <a:ext cx="855705" cy="286549"/>
          </a:xfrm>
          <a:prstGeom prst="bentConnector3">
            <a:avLst>
              <a:gd name="adj1" fmla="val 50000"/>
            </a:avLst>
          </a:prstGeom>
          <a:noFill/>
          <a:ln w="19050" cap="flat" cmpd="sng" algn="ctr">
            <a:solidFill>
              <a:srgbClr val="FF0000"/>
            </a:solidFill>
            <a:prstDash val="solid"/>
            <a:miter lim="800000"/>
            <a:tailEnd type="triangle"/>
          </a:ln>
          <a:effectLst/>
        </p:spPr>
      </p:cxnSp>
      <p:cxnSp>
        <p:nvCxnSpPr>
          <p:cNvPr id="139" name="Elbow Connector 138"/>
          <p:cNvCxnSpPr>
            <a:stCxn id="165" idx="2"/>
            <a:endCxn id="136" idx="3"/>
          </p:cNvCxnSpPr>
          <p:nvPr/>
        </p:nvCxnSpPr>
        <p:spPr>
          <a:xfrm rot="5400000">
            <a:off x="9819267" y="3167138"/>
            <a:ext cx="726000" cy="1519500"/>
          </a:xfrm>
          <a:prstGeom prst="bentConnector2">
            <a:avLst/>
          </a:prstGeom>
          <a:noFill/>
          <a:ln w="19050" cap="flat" cmpd="sng" algn="ctr">
            <a:solidFill>
              <a:srgbClr val="FF0000"/>
            </a:solidFill>
            <a:prstDash val="solid"/>
            <a:miter lim="800000"/>
            <a:tailEnd type="triangle"/>
          </a:ln>
          <a:effectLst/>
        </p:spPr>
      </p:cxnSp>
      <p:cxnSp>
        <p:nvCxnSpPr>
          <p:cNvPr id="140" name="Elbow Connector 139"/>
          <p:cNvCxnSpPr>
            <a:stCxn id="165" idx="3"/>
            <a:endCxn id="121" idx="3"/>
          </p:cNvCxnSpPr>
          <p:nvPr/>
        </p:nvCxnSpPr>
        <p:spPr>
          <a:xfrm flipH="1">
            <a:off x="9518281" y="3167752"/>
            <a:ext cx="2146865" cy="2437630"/>
          </a:xfrm>
          <a:prstGeom prst="bentConnector3">
            <a:avLst>
              <a:gd name="adj1" fmla="val -10648"/>
            </a:avLst>
          </a:prstGeom>
          <a:noFill/>
          <a:ln w="28575" cap="flat" cmpd="sng" algn="ctr">
            <a:solidFill>
              <a:srgbClr val="00B050"/>
            </a:solidFill>
            <a:prstDash val="solid"/>
            <a:miter lim="800000"/>
            <a:tailEnd type="triangle"/>
          </a:ln>
          <a:effectLst/>
        </p:spPr>
      </p:cxnSp>
      <p:cxnSp>
        <p:nvCxnSpPr>
          <p:cNvPr id="141" name="Straight Arrow Connector 140"/>
          <p:cNvCxnSpPr>
            <a:stCxn id="121" idx="1"/>
            <a:endCxn id="188" idx="3"/>
          </p:cNvCxnSpPr>
          <p:nvPr/>
        </p:nvCxnSpPr>
        <p:spPr>
          <a:xfrm flipH="1">
            <a:off x="7742185" y="5605382"/>
            <a:ext cx="754721" cy="9061"/>
          </a:xfrm>
          <a:prstGeom prst="straightConnector1">
            <a:avLst/>
          </a:prstGeom>
          <a:noFill/>
          <a:ln w="38100" cap="flat" cmpd="sng" algn="ctr">
            <a:solidFill>
              <a:sysClr val="windowText" lastClr="000000"/>
            </a:solidFill>
            <a:prstDash val="solid"/>
            <a:miter lim="800000"/>
            <a:tailEnd type="triangle"/>
          </a:ln>
          <a:effectLst/>
        </p:spPr>
      </p:cxnSp>
      <p:cxnSp>
        <p:nvCxnSpPr>
          <p:cNvPr id="142" name="Elbow Connector 141"/>
          <p:cNvCxnSpPr>
            <a:stCxn id="133" idx="0"/>
            <a:endCxn id="134" idx="2"/>
          </p:cNvCxnSpPr>
          <p:nvPr/>
        </p:nvCxnSpPr>
        <p:spPr>
          <a:xfrm rot="16200000" flipV="1">
            <a:off x="8414344" y="1984720"/>
            <a:ext cx="1683390" cy="1"/>
          </a:xfrm>
          <a:prstGeom prst="bentConnector3">
            <a:avLst>
              <a:gd name="adj1" fmla="val 50000"/>
            </a:avLst>
          </a:prstGeom>
          <a:noFill/>
          <a:ln w="38100" cap="flat" cmpd="sng" algn="ctr">
            <a:solidFill>
              <a:sysClr val="windowText" lastClr="000000"/>
            </a:solidFill>
            <a:prstDash val="solid"/>
            <a:miter lim="800000"/>
            <a:tailEnd type="triangle"/>
          </a:ln>
          <a:effectLst/>
        </p:spPr>
      </p:cxnSp>
      <p:sp>
        <p:nvSpPr>
          <p:cNvPr id="160" name="Diamond 159"/>
          <p:cNvSpPr/>
          <p:nvPr/>
        </p:nvSpPr>
        <p:spPr>
          <a:xfrm>
            <a:off x="5302239" y="2710255"/>
            <a:ext cx="1514418" cy="978783"/>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Initiate Release</a:t>
            </a:r>
          </a:p>
        </p:txBody>
      </p:sp>
      <p:cxnSp>
        <p:nvCxnSpPr>
          <p:cNvPr id="161" name="Straight Arrow Connector 160"/>
          <p:cNvCxnSpPr>
            <a:stCxn id="160" idx="3"/>
            <a:endCxn id="135" idx="1"/>
          </p:cNvCxnSpPr>
          <p:nvPr/>
        </p:nvCxnSpPr>
        <p:spPr>
          <a:xfrm flipV="1">
            <a:off x="6816657" y="3197192"/>
            <a:ext cx="233991" cy="2455"/>
          </a:xfrm>
          <a:prstGeom prst="straightConnector1">
            <a:avLst/>
          </a:prstGeom>
          <a:noFill/>
          <a:ln w="38100" cap="flat" cmpd="sng" algn="ctr">
            <a:solidFill>
              <a:srgbClr val="00B050"/>
            </a:solidFill>
            <a:prstDash val="solid"/>
            <a:miter lim="800000"/>
            <a:tailEnd type="triangle"/>
          </a:ln>
          <a:effectLst/>
        </p:spPr>
      </p:cxnSp>
      <p:cxnSp>
        <p:nvCxnSpPr>
          <p:cNvPr id="163" name="Straight Arrow Connector 162"/>
          <p:cNvCxnSpPr>
            <a:stCxn id="104" idx="3"/>
            <a:endCxn id="110" idx="1"/>
          </p:cNvCxnSpPr>
          <p:nvPr/>
        </p:nvCxnSpPr>
        <p:spPr>
          <a:xfrm>
            <a:off x="1393721" y="3197869"/>
            <a:ext cx="391808" cy="2006"/>
          </a:xfrm>
          <a:prstGeom prst="straightConnector1">
            <a:avLst/>
          </a:prstGeom>
          <a:noFill/>
          <a:ln w="38100" cap="flat" cmpd="sng" algn="ctr">
            <a:solidFill>
              <a:sysClr val="windowText" lastClr="000000"/>
            </a:solidFill>
            <a:prstDash val="solid"/>
            <a:miter lim="800000"/>
            <a:tailEnd type="triangle"/>
          </a:ln>
          <a:effectLst/>
        </p:spPr>
      </p:cxnSp>
      <p:sp>
        <p:nvSpPr>
          <p:cNvPr id="165" name="Diamond 164"/>
          <p:cNvSpPr/>
          <p:nvPr/>
        </p:nvSpPr>
        <p:spPr>
          <a:xfrm>
            <a:off x="10218888" y="2771616"/>
            <a:ext cx="1446258" cy="792272"/>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cxnSp>
        <p:nvCxnSpPr>
          <p:cNvPr id="166" name="Elbow Connector 165"/>
          <p:cNvCxnSpPr>
            <a:stCxn id="188" idx="0"/>
            <a:endCxn id="136" idx="2"/>
          </p:cNvCxnSpPr>
          <p:nvPr/>
        </p:nvCxnSpPr>
        <p:spPr>
          <a:xfrm rot="5400000" flipH="1" flipV="1">
            <a:off x="7551061" y="3978305"/>
            <a:ext cx="794556" cy="1864060"/>
          </a:xfrm>
          <a:prstGeom prst="bentConnector3">
            <a:avLst>
              <a:gd name="adj1" fmla="val 50000"/>
            </a:avLst>
          </a:prstGeom>
          <a:noFill/>
          <a:ln w="19050" cap="flat" cmpd="sng" algn="ctr">
            <a:solidFill>
              <a:srgbClr val="FF0000"/>
            </a:solidFill>
            <a:prstDash val="solid"/>
            <a:miter lim="800000"/>
            <a:tailEnd type="triangle"/>
          </a:ln>
          <a:effectLst/>
        </p:spPr>
      </p:cxnSp>
      <p:grpSp>
        <p:nvGrpSpPr>
          <p:cNvPr id="172" name="Group 171"/>
          <p:cNvGrpSpPr/>
          <p:nvPr/>
        </p:nvGrpSpPr>
        <p:grpSpPr>
          <a:xfrm>
            <a:off x="9895576" y="4623567"/>
            <a:ext cx="1818387" cy="900312"/>
            <a:chOff x="3889352" y="1545336"/>
            <a:chExt cx="1560343" cy="911625"/>
          </a:xfrm>
        </p:grpSpPr>
        <p:sp>
          <p:nvSpPr>
            <p:cNvPr id="178" name="Rectangle 177"/>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173" name="Group 172"/>
            <p:cNvGrpSpPr/>
            <p:nvPr/>
          </p:nvGrpSpPr>
          <p:grpSpPr>
            <a:xfrm>
              <a:off x="3994296" y="1892134"/>
              <a:ext cx="577704" cy="467926"/>
              <a:chOff x="7800498" y="2925935"/>
              <a:chExt cx="795270" cy="721994"/>
            </a:xfrm>
          </p:grpSpPr>
          <p:sp>
            <p:nvSpPr>
              <p:cNvPr id="181"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182" name="Group 181">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183"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4"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5"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6"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187"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174" name="Group 173"/>
            <p:cNvGrpSpPr/>
            <p:nvPr/>
          </p:nvGrpSpPr>
          <p:grpSpPr>
            <a:xfrm>
              <a:off x="4742772" y="2138049"/>
              <a:ext cx="706923" cy="318912"/>
              <a:chOff x="7677760" y="2904997"/>
              <a:chExt cx="814556" cy="407199"/>
            </a:xfrm>
          </p:grpSpPr>
          <p:pic>
            <p:nvPicPr>
              <p:cNvPr id="179" name="Picture 178"/>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180" name="TextBox 179"/>
              <p:cNvSpPr txBox="1"/>
              <p:nvPr/>
            </p:nvSpPr>
            <p:spPr>
              <a:xfrm>
                <a:off x="7923000" y="299386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175" name="TextBox 174"/>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176" name="TextBox 175"/>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177" name="Straight Connector 176"/>
            <p:cNvCxnSpPr>
              <a:stCxn id="178" idx="2"/>
              <a:endCxn id="178"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sp>
        <p:nvSpPr>
          <p:cNvPr id="188" name="Diamond 187"/>
          <p:cNvSpPr/>
          <p:nvPr/>
        </p:nvSpPr>
        <p:spPr>
          <a:xfrm>
            <a:off x="6290433" y="5307613"/>
            <a:ext cx="1451752" cy="61365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Success?</a:t>
            </a:r>
          </a:p>
        </p:txBody>
      </p:sp>
      <p:graphicFrame>
        <p:nvGraphicFramePr>
          <p:cNvPr id="189" name="Table 188"/>
          <p:cNvGraphicFramePr>
            <a:graphicFrameLocks noGrp="1"/>
          </p:cNvGraphicFramePr>
          <p:nvPr>
            <p:extLst>
              <p:ext uri="{D42A27DB-BD31-4B8C-83A1-F6EECF244321}">
                <p14:modId xmlns:p14="http://schemas.microsoft.com/office/powerpoint/2010/main" val="971777702"/>
              </p:ext>
            </p:extLst>
          </p:nvPr>
        </p:nvGraphicFramePr>
        <p:xfrm>
          <a:off x="8102311" y="6058731"/>
          <a:ext cx="3258740" cy="731520"/>
        </p:xfrm>
        <a:graphic>
          <a:graphicData uri="http://schemas.openxmlformats.org/drawingml/2006/table">
            <a:tbl>
              <a:tblPr firstRow="1" bandRow="1"/>
              <a:tblGrid>
                <a:gridCol w="922298"/>
                <a:gridCol w="1304061"/>
                <a:gridCol w="1032381"/>
              </a:tblGrid>
              <a:tr h="215418">
                <a:tc rowSpan="3">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pPr algn="ctr"/>
                      <a:r>
                        <a:rPr lang="en-US" sz="1400" b="1" i="1" dirty="0" smtClean="0">
                          <a:solidFill>
                            <a:schemeClr val="tx1"/>
                          </a:solidFill>
                        </a:rPr>
                        <a:t>Legen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r>
                        <a:rPr lang="en-US" sz="1000" b="1" dirty="0" smtClean="0">
                          <a:solidFill>
                            <a:schemeClr val="tx1"/>
                          </a:solidFill>
                        </a:rPr>
                        <a:t>Symbol</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b="1" kern="1200">
                          <a:solidFill>
                            <a:schemeClr val="lt1"/>
                          </a:solidFill>
                          <a:latin typeface="Calibri" panose="020F0502020204030204"/>
                        </a:defRPr>
                      </a:lvl1pPr>
                      <a:lvl2pPr marL="278606" algn="l" defTabSz="557213" rtl="0" eaLnBrk="1" latinLnBrk="0" hangingPunct="1">
                        <a:defRPr sz="1097" b="1" kern="1200">
                          <a:solidFill>
                            <a:schemeClr val="lt1"/>
                          </a:solidFill>
                          <a:latin typeface="Calibri" panose="020F0502020204030204"/>
                        </a:defRPr>
                      </a:lvl2pPr>
                      <a:lvl3pPr marL="557213" algn="l" defTabSz="557213" rtl="0" eaLnBrk="1" latinLnBrk="0" hangingPunct="1">
                        <a:defRPr sz="1097" b="1" kern="1200">
                          <a:solidFill>
                            <a:schemeClr val="lt1"/>
                          </a:solidFill>
                          <a:latin typeface="Calibri" panose="020F0502020204030204"/>
                        </a:defRPr>
                      </a:lvl3pPr>
                      <a:lvl4pPr marL="835819" algn="l" defTabSz="557213" rtl="0" eaLnBrk="1" latinLnBrk="0" hangingPunct="1">
                        <a:defRPr sz="1097" b="1" kern="1200">
                          <a:solidFill>
                            <a:schemeClr val="lt1"/>
                          </a:solidFill>
                          <a:latin typeface="Calibri" panose="020F0502020204030204"/>
                        </a:defRPr>
                      </a:lvl4pPr>
                      <a:lvl5pPr marL="1114425" algn="l" defTabSz="557213" rtl="0" eaLnBrk="1" latinLnBrk="0" hangingPunct="1">
                        <a:defRPr sz="1097" b="1" kern="1200">
                          <a:solidFill>
                            <a:schemeClr val="lt1"/>
                          </a:solidFill>
                          <a:latin typeface="Calibri" panose="020F0502020204030204"/>
                        </a:defRPr>
                      </a:lvl5pPr>
                      <a:lvl6pPr marL="1393031" algn="l" defTabSz="557213" rtl="0" eaLnBrk="1" latinLnBrk="0" hangingPunct="1">
                        <a:defRPr sz="1097" b="1" kern="1200">
                          <a:solidFill>
                            <a:schemeClr val="lt1"/>
                          </a:solidFill>
                          <a:latin typeface="Calibri" panose="020F0502020204030204"/>
                        </a:defRPr>
                      </a:lvl6pPr>
                      <a:lvl7pPr marL="1671638" algn="l" defTabSz="557213" rtl="0" eaLnBrk="1" latinLnBrk="0" hangingPunct="1">
                        <a:defRPr sz="1097" b="1" kern="1200">
                          <a:solidFill>
                            <a:schemeClr val="lt1"/>
                          </a:solidFill>
                          <a:latin typeface="Calibri" panose="020F0502020204030204"/>
                        </a:defRPr>
                      </a:lvl7pPr>
                      <a:lvl8pPr marL="1950244" algn="l" defTabSz="557213" rtl="0" eaLnBrk="1" latinLnBrk="0" hangingPunct="1">
                        <a:defRPr sz="1097" b="1" kern="1200">
                          <a:solidFill>
                            <a:schemeClr val="lt1"/>
                          </a:solidFill>
                          <a:latin typeface="Calibri" panose="020F0502020204030204"/>
                        </a:defRPr>
                      </a:lvl8pPr>
                      <a:lvl9pPr marL="2228850" algn="l" defTabSz="557213" rtl="0" eaLnBrk="1" latinLnBrk="0" hangingPunct="1">
                        <a:defRPr sz="1097" b="1" kern="1200">
                          <a:solidFill>
                            <a:schemeClr val="lt1"/>
                          </a:solidFill>
                          <a:latin typeface="Calibri" panose="020F0502020204030204"/>
                        </a:defRPr>
                      </a:lvl9pPr>
                    </a:lstStyle>
                    <a:p>
                      <a:r>
                        <a:rPr lang="en-US" sz="1000" b="1" dirty="0" smtClean="0">
                          <a:solidFill>
                            <a:schemeClr val="tx1"/>
                          </a:solidFill>
                        </a:rPr>
                        <a:t>Condition</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00991">
                <a:tc vMerge="1">
                  <a:txBody>
                    <a:bodyPr/>
                    <a:lstStyle/>
                    <a:p>
                      <a:endParaRPr lang="en-US"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r>
                        <a:rPr lang="en-US" sz="1000" b="1" dirty="0" smtClean="0">
                          <a:solidFill>
                            <a:schemeClr val="tx1"/>
                          </a:solidFill>
                        </a:rPr>
                        <a:t>Yes</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00991">
                <a:tc vMerge="1">
                  <a:txBody>
                    <a:bodyPr/>
                    <a:lstStyle/>
                    <a:p>
                      <a:endParaRPr lang="en-US"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557213" rtl="0" eaLnBrk="1" latinLnBrk="0" hangingPunct="1">
                        <a:defRPr sz="1097" kern="1200">
                          <a:solidFill>
                            <a:schemeClr val="dk1"/>
                          </a:solidFill>
                          <a:latin typeface="Calibri" panose="020F0502020204030204"/>
                        </a:defRPr>
                      </a:lvl1pPr>
                      <a:lvl2pPr marL="278606" algn="l" defTabSz="557213" rtl="0" eaLnBrk="1" latinLnBrk="0" hangingPunct="1">
                        <a:defRPr sz="1097" kern="1200">
                          <a:solidFill>
                            <a:schemeClr val="dk1"/>
                          </a:solidFill>
                          <a:latin typeface="Calibri" panose="020F0502020204030204"/>
                        </a:defRPr>
                      </a:lvl2pPr>
                      <a:lvl3pPr marL="557213" algn="l" defTabSz="557213" rtl="0" eaLnBrk="1" latinLnBrk="0" hangingPunct="1">
                        <a:defRPr sz="1097" kern="1200">
                          <a:solidFill>
                            <a:schemeClr val="dk1"/>
                          </a:solidFill>
                          <a:latin typeface="Calibri" panose="020F0502020204030204"/>
                        </a:defRPr>
                      </a:lvl3pPr>
                      <a:lvl4pPr marL="835819" algn="l" defTabSz="557213" rtl="0" eaLnBrk="1" latinLnBrk="0" hangingPunct="1">
                        <a:defRPr sz="1097" kern="1200">
                          <a:solidFill>
                            <a:schemeClr val="dk1"/>
                          </a:solidFill>
                          <a:latin typeface="Calibri" panose="020F0502020204030204"/>
                        </a:defRPr>
                      </a:lvl4pPr>
                      <a:lvl5pPr marL="1114425" algn="l" defTabSz="557213" rtl="0" eaLnBrk="1" latinLnBrk="0" hangingPunct="1">
                        <a:defRPr sz="1097" kern="1200">
                          <a:solidFill>
                            <a:schemeClr val="dk1"/>
                          </a:solidFill>
                          <a:latin typeface="Calibri" panose="020F0502020204030204"/>
                        </a:defRPr>
                      </a:lvl5pPr>
                      <a:lvl6pPr marL="1393031" algn="l" defTabSz="557213" rtl="0" eaLnBrk="1" latinLnBrk="0" hangingPunct="1">
                        <a:defRPr sz="1097" kern="1200">
                          <a:solidFill>
                            <a:schemeClr val="dk1"/>
                          </a:solidFill>
                          <a:latin typeface="Calibri" panose="020F0502020204030204"/>
                        </a:defRPr>
                      </a:lvl6pPr>
                      <a:lvl7pPr marL="1671638" algn="l" defTabSz="557213" rtl="0" eaLnBrk="1" latinLnBrk="0" hangingPunct="1">
                        <a:defRPr sz="1097" kern="1200">
                          <a:solidFill>
                            <a:schemeClr val="dk1"/>
                          </a:solidFill>
                          <a:latin typeface="Calibri" panose="020F0502020204030204"/>
                        </a:defRPr>
                      </a:lvl7pPr>
                      <a:lvl8pPr marL="1950244" algn="l" defTabSz="557213" rtl="0" eaLnBrk="1" latinLnBrk="0" hangingPunct="1">
                        <a:defRPr sz="1097" kern="1200">
                          <a:solidFill>
                            <a:schemeClr val="dk1"/>
                          </a:solidFill>
                          <a:latin typeface="Calibri" panose="020F0502020204030204"/>
                        </a:defRPr>
                      </a:lvl8pPr>
                      <a:lvl9pPr marL="2228850" algn="l" defTabSz="557213" rtl="0" eaLnBrk="1" latinLnBrk="0" hangingPunct="1">
                        <a:defRPr sz="1097" kern="1200">
                          <a:solidFill>
                            <a:schemeClr val="dk1"/>
                          </a:solidFill>
                          <a:latin typeface="Calibri" panose="020F0502020204030204"/>
                        </a:defRPr>
                      </a:lvl9pPr>
                    </a:lstStyle>
                    <a:p>
                      <a:r>
                        <a:rPr lang="en-US" sz="1000" b="1" dirty="0" smtClean="0">
                          <a:solidFill>
                            <a:schemeClr val="tx1"/>
                          </a:solidFill>
                        </a:rPr>
                        <a:t>No</a:t>
                      </a:r>
                      <a:endParaRPr lang="en-US" sz="10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pSp>
        <p:nvGrpSpPr>
          <p:cNvPr id="190" name="Group 189"/>
          <p:cNvGrpSpPr/>
          <p:nvPr/>
        </p:nvGrpSpPr>
        <p:grpSpPr>
          <a:xfrm>
            <a:off x="9264212" y="6479089"/>
            <a:ext cx="508138" cy="246791"/>
            <a:chOff x="10276708" y="6409395"/>
            <a:chExt cx="665190" cy="200746"/>
          </a:xfrm>
        </p:grpSpPr>
        <p:cxnSp>
          <p:nvCxnSpPr>
            <p:cNvPr id="191" name="Straight Arrow Connector 190"/>
            <p:cNvCxnSpPr/>
            <p:nvPr/>
          </p:nvCxnSpPr>
          <p:spPr>
            <a:xfrm>
              <a:off x="10276708" y="6409395"/>
              <a:ext cx="659094" cy="2626"/>
            </a:xfrm>
            <a:prstGeom prst="straightConnector1">
              <a:avLst/>
            </a:prstGeom>
            <a:noFill/>
            <a:ln w="28575" cap="flat" cmpd="sng" algn="ctr">
              <a:solidFill>
                <a:srgbClr val="00B050"/>
              </a:solidFill>
              <a:prstDash val="solid"/>
              <a:miter lim="800000"/>
              <a:tailEnd type="triangle"/>
            </a:ln>
            <a:effectLst/>
          </p:spPr>
        </p:cxnSp>
        <p:cxnSp>
          <p:nvCxnSpPr>
            <p:cNvPr id="192" name="Straight Arrow Connector 191"/>
            <p:cNvCxnSpPr/>
            <p:nvPr/>
          </p:nvCxnSpPr>
          <p:spPr>
            <a:xfrm>
              <a:off x="10282804" y="6607515"/>
              <a:ext cx="659094" cy="2626"/>
            </a:xfrm>
            <a:prstGeom prst="straightConnector1">
              <a:avLst/>
            </a:prstGeom>
            <a:noFill/>
            <a:ln w="28575" cap="flat" cmpd="sng" algn="ctr">
              <a:solidFill>
                <a:srgbClr val="FF0000"/>
              </a:solidFill>
              <a:prstDash val="solid"/>
              <a:miter lim="800000"/>
              <a:tailEnd type="triangle"/>
            </a:ln>
            <a:effectLst/>
          </p:spPr>
        </p:cxnSp>
      </p:grpSp>
      <p:grpSp>
        <p:nvGrpSpPr>
          <p:cNvPr id="198" name="Group 197"/>
          <p:cNvGrpSpPr/>
          <p:nvPr/>
        </p:nvGrpSpPr>
        <p:grpSpPr>
          <a:xfrm>
            <a:off x="6810355" y="1890352"/>
            <a:ext cx="1818570" cy="860474"/>
            <a:chOff x="3889352" y="1545336"/>
            <a:chExt cx="1560500" cy="871286"/>
          </a:xfrm>
        </p:grpSpPr>
        <p:sp>
          <p:nvSpPr>
            <p:cNvPr id="199" name="Rectangle 198"/>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200" name="Group 199"/>
            <p:cNvGrpSpPr/>
            <p:nvPr/>
          </p:nvGrpSpPr>
          <p:grpSpPr>
            <a:xfrm>
              <a:off x="3994296" y="1892134"/>
              <a:ext cx="577704" cy="467926"/>
              <a:chOff x="7800498" y="2925935"/>
              <a:chExt cx="795270" cy="721994"/>
            </a:xfrm>
          </p:grpSpPr>
          <p:sp>
            <p:nvSpPr>
              <p:cNvPr id="207"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208" name="Group 207">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209"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0"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1"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2"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13"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201" name="Group 200"/>
            <p:cNvGrpSpPr/>
            <p:nvPr/>
          </p:nvGrpSpPr>
          <p:grpSpPr>
            <a:xfrm>
              <a:off x="4742768" y="2138050"/>
              <a:ext cx="707084" cy="271130"/>
              <a:chOff x="7677760" y="2904997"/>
              <a:chExt cx="814742" cy="346189"/>
            </a:xfrm>
          </p:grpSpPr>
          <p:pic>
            <p:nvPicPr>
              <p:cNvPr id="205" name="Picture 204"/>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206" name="TextBox 205"/>
              <p:cNvSpPr txBox="1"/>
              <p:nvPr/>
            </p:nvSpPr>
            <p:spPr>
              <a:xfrm>
                <a:off x="7923186" y="293285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202" name="TextBox 201"/>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203" name="TextBox 202"/>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204" name="Straight Connector 203"/>
            <p:cNvCxnSpPr>
              <a:stCxn id="199" idx="2"/>
              <a:endCxn id="199"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sp>
        <p:nvSpPr>
          <p:cNvPr id="214" name="Rounded Rectangle 21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t>
            </a:r>
            <a:r>
              <a:rPr lang="en-US" sz="2000" b="1" dirty="0" smtClean="0"/>
              <a:t>Swarah – Web Application SDLC flow</a:t>
            </a:r>
            <a:endParaRPr lang="en-US" sz="2000" b="1" dirty="0"/>
          </a:p>
        </p:txBody>
      </p:sp>
      <p:sp>
        <p:nvSpPr>
          <p:cNvPr id="98" name="Rounded Rectangle 97"/>
          <p:cNvSpPr/>
          <p:nvPr/>
        </p:nvSpPr>
        <p:spPr>
          <a:xfrm>
            <a:off x="3453128" y="4156508"/>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44" name="Straight Arrow Connector 143"/>
          <p:cNvCxnSpPr>
            <a:stCxn id="99" idx="2"/>
            <a:endCxn id="98" idx="0"/>
          </p:cNvCxnSpPr>
          <p:nvPr/>
        </p:nvCxnSpPr>
        <p:spPr>
          <a:xfrm flipH="1">
            <a:off x="3995277" y="3665996"/>
            <a:ext cx="2724" cy="490512"/>
          </a:xfrm>
          <a:prstGeom prst="straightConnector1">
            <a:avLst/>
          </a:prstGeom>
          <a:noFill/>
          <a:ln w="19050" cap="flat" cmpd="sng" algn="ctr">
            <a:solidFill>
              <a:srgbClr val="FF0000"/>
            </a:solidFill>
            <a:prstDash val="solid"/>
            <a:miter lim="800000"/>
            <a:tailEnd type="triangle"/>
          </a:ln>
          <a:effectLst/>
        </p:spPr>
      </p:cxnSp>
      <p:sp>
        <p:nvSpPr>
          <p:cNvPr id="154" name="Rounded Rectangle 153"/>
          <p:cNvSpPr/>
          <p:nvPr/>
        </p:nvSpPr>
        <p:spPr>
          <a:xfrm>
            <a:off x="6590160" y="899577"/>
            <a:ext cx="1084297" cy="446338"/>
          </a:xfrm>
          <a:prstGeom prst="roundRect">
            <a:avLst>
              <a:gd name="adj" fmla="val 48257"/>
            </a:avLst>
          </a:prstGeom>
          <a:solidFill>
            <a:schemeClr val="accent4">
              <a:lumMod val="60000"/>
              <a:lumOff val="40000"/>
            </a:schemeClr>
          </a:soli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panose="020F0502020204030204"/>
                <a:ea typeface="+mn-ea"/>
                <a:cs typeface="+mn-cs"/>
              </a:rPr>
              <a:t>On-Hold till further decision</a:t>
            </a:r>
          </a:p>
        </p:txBody>
      </p:sp>
      <p:cxnSp>
        <p:nvCxnSpPr>
          <p:cNvPr id="156" name="Straight Arrow Connector 155"/>
          <p:cNvCxnSpPr>
            <a:stCxn id="134" idx="3"/>
            <a:endCxn id="215" idx="1"/>
          </p:cNvCxnSpPr>
          <p:nvPr/>
        </p:nvCxnSpPr>
        <p:spPr>
          <a:xfrm flipV="1">
            <a:off x="9981914" y="834484"/>
            <a:ext cx="415531" cy="1713"/>
          </a:xfrm>
          <a:prstGeom prst="straightConnector1">
            <a:avLst/>
          </a:prstGeom>
          <a:noFill/>
          <a:ln w="38100" cap="flat" cmpd="sng" algn="ctr">
            <a:solidFill>
              <a:srgbClr val="00B050"/>
            </a:solidFill>
            <a:prstDash val="solid"/>
            <a:miter lim="800000"/>
            <a:tailEnd type="triangle"/>
          </a:ln>
          <a:effectLst/>
        </p:spPr>
      </p:cxnSp>
      <p:sp>
        <p:nvSpPr>
          <p:cNvPr id="215" name="Rectangle 214"/>
          <p:cNvSpPr/>
          <p:nvPr/>
        </p:nvSpPr>
        <p:spPr>
          <a:xfrm>
            <a:off x="10397445" y="465748"/>
            <a:ext cx="1076668" cy="737472"/>
          </a:xfrm>
          <a:prstGeom prst="rect">
            <a:avLst/>
          </a:prstGeom>
          <a:solidFill>
            <a:schemeClr val="bg2">
              <a:lumMod val="7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eloper will Merge Code </a:t>
            </a:r>
            <a:r>
              <a:rPr lang="en-US" sz="1100" b="1" kern="0" dirty="0" smtClean="0">
                <a:solidFill>
                  <a:prstClr val="black"/>
                </a:solidFill>
                <a:latin typeface="Calibri Light" panose="020F0302020204030204"/>
              </a:rPr>
              <a:t>to</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 </a:t>
            </a: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QA</a:t>
            </a:r>
            <a:r>
              <a:rPr kumimoji="0" lang="en-US" sz="1100" b="1" i="0" u="none" strike="noStrike" kern="0" cap="none" spc="0" normalizeH="0" noProof="0" dirty="0" smtClean="0">
                <a:ln>
                  <a:noFill/>
                </a:ln>
                <a:solidFill>
                  <a:prstClr val="black"/>
                </a:solidFill>
                <a:effectLst/>
                <a:uLnTx/>
                <a:uFillTx/>
                <a:latin typeface="Calibri Light" panose="020F0302020204030204"/>
                <a:ea typeface="+mn-ea"/>
                <a:cs typeface="+mn-cs"/>
              </a:rPr>
              <a:t> Branch</a:t>
            </a:r>
            <a:endPar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endParaRPr>
          </a:p>
        </p:txBody>
      </p:sp>
      <p:pic>
        <p:nvPicPr>
          <p:cNvPr id="218"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10394905" y="896483"/>
            <a:ext cx="327053" cy="308907"/>
          </a:xfrm>
          <a:prstGeom prst="rect">
            <a:avLst/>
          </a:prstGeom>
          <a:noFill/>
          <a:extLst>
            <a:ext uri="{909E8E84-426E-40DD-AFC4-6F175D3DCCD1}">
              <a14:hiddenFill xmlns:a14="http://schemas.microsoft.com/office/drawing/2010/main">
                <a:solidFill>
                  <a:srgbClr val="FFFFFF"/>
                </a:solidFill>
              </a14:hiddenFill>
            </a:ext>
          </a:extLst>
        </p:spPr>
      </p:pic>
      <p:cxnSp>
        <p:nvCxnSpPr>
          <p:cNvPr id="223" name="Straight Arrow Connector 222"/>
          <p:cNvCxnSpPr>
            <a:stCxn id="188" idx="1"/>
            <a:endCxn id="224" idx="3"/>
          </p:cNvCxnSpPr>
          <p:nvPr/>
        </p:nvCxnSpPr>
        <p:spPr>
          <a:xfrm flipH="1" flipV="1">
            <a:off x="6045328" y="5605382"/>
            <a:ext cx="245105" cy="9061"/>
          </a:xfrm>
          <a:prstGeom prst="straightConnector1">
            <a:avLst/>
          </a:prstGeom>
          <a:noFill/>
          <a:ln w="38100" cap="flat" cmpd="sng" algn="ctr">
            <a:solidFill>
              <a:srgbClr val="00B050"/>
            </a:solidFill>
            <a:prstDash val="solid"/>
            <a:miter lim="800000"/>
            <a:tailEnd type="triangle"/>
          </a:ln>
          <a:effectLst/>
        </p:spPr>
      </p:cxnSp>
      <p:grpSp>
        <p:nvGrpSpPr>
          <p:cNvPr id="229" name="Group 228"/>
          <p:cNvGrpSpPr/>
          <p:nvPr/>
        </p:nvGrpSpPr>
        <p:grpSpPr>
          <a:xfrm>
            <a:off x="5068248" y="5224983"/>
            <a:ext cx="1007235" cy="774068"/>
            <a:chOff x="5139196" y="5162070"/>
            <a:chExt cx="1007235" cy="774068"/>
          </a:xfrm>
        </p:grpSpPr>
        <p:sp>
          <p:nvSpPr>
            <p:cNvPr id="224" name="Rectangle 223"/>
            <p:cNvSpPr/>
            <p:nvPr/>
          </p:nvSpPr>
          <p:spPr>
            <a:xfrm>
              <a:off x="5139196" y="5162070"/>
              <a:ext cx="977080" cy="760797"/>
            </a:xfrm>
            <a:prstGeom prst="rect">
              <a:avLst/>
            </a:prstGeom>
            <a:solidFill>
              <a:schemeClr val="bg1">
                <a:lumMod val="6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Developer will Merge Code on </a:t>
              </a:r>
              <a:r>
                <a:rPr lang="en-US" sz="1100" b="1" kern="0" dirty="0" smtClean="0">
                  <a:solidFill>
                    <a:prstClr val="black"/>
                  </a:solidFill>
                  <a:latin typeface="Calibri Light" panose="020F0302020204030204"/>
                </a:rPr>
                <a:t>Production </a:t>
              </a:r>
              <a:r>
                <a:rPr kumimoji="0" lang="en-US" sz="1100" b="1" i="0" u="none" strike="noStrike" kern="0" cap="none" spc="0" normalizeH="0" noProof="0" dirty="0" smtClean="0">
                  <a:ln>
                    <a:noFill/>
                  </a:ln>
                  <a:solidFill>
                    <a:prstClr val="black"/>
                  </a:solidFill>
                  <a:effectLst/>
                  <a:uLnTx/>
                  <a:uFillTx/>
                  <a:latin typeface="Calibri Light" panose="020F0302020204030204"/>
                  <a:ea typeface="+mn-ea"/>
                  <a:cs typeface="+mn-cs"/>
                </a:rPr>
                <a:t>Branch</a:t>
              </a:r>
              <a:endPar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endParaRPr>
            </a:p>
          </p:txBody>
        </p:sp>
        <p:pic>
          <p:nvPicPr>
            <p:cNvPr id="225" name="Picture 6" descr="http://ipengineer.net/wp-content/uploads/2015/04/git-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7409" r="54841" b="26351"/>
            <a:stretch/>
          </p:blipFill>
          <p:spPr bwMode="auto">
            <a:xfrm>
              <a:off x="5819378" y="5627231"/>
              <a:ext cx="327053" cy="308907"/>
            </a:xfrm>
            <a:prstGeom prst="rect">
              <a:avLst/>
            </a:prstGeom>
            <a:noFill/>
            <a:extLst>
              <a:ext uri="{909E8E84-426E-40DD-AFC4-6F175D3DCCD1}">
                <a14:hiddenFill xmlns:a14="http://schemas.microsoft.com/office/drawing/2010/main">
                  <a:solidFill>
                    <a:srgbClr val="FFFFFF"/>
                  </a:solidFill>
                </a14:hiddenFill>
              </a:ext>
            </a:extLst>
          </p:spPr>
        </p:pic>
      </p:grpSp>
      <p:sp>
        <p:nvSpPr>
          <p:cNvPr id="230" name="TextBox 229"/>
          <p:cNvSpPr txBox="1"/>
          <p:nvPr/>
        </p:nvSpPr>
        <p:spPr>
          <a:xfrm>
            <a:off x="1262126" y="5736606"/>
            <a:ext cx="1399360" cy="369332"/>
          </a:xfrm>
          <a:prstGeom prst="rect">
            <a:avLst/>
          </a:prstGeom>
          <a:noFill/>
        </p:spPr>
        <p:txBody>
          <a:bodyPr wrap="square" rtlCol="0">
            <a:spAutoFit/>
          </a:bodyPr>
          <a:lstStyle/>
          <a:p>
            <a:r>
              <a:rPr lang="en-US" sz="900" b="1" i="1" dirty="0" smtClean="0">
                <a:solidFill>
                  <a:prstClr val="black"/>
                </a:solidFill>
                <a:latin typeface="Calibri" panose="020F0502020204030204"/>
              </a:rPr>
              <a:t>Take pre-deployment approval</a:t>
            </a:r>
            <a:endParaRPr lang="en-US" sz="900" b="1" i="1" dirty="0">
              <a:solidFill>
                <a:prstClr val="black"/>
              </a:solidFill>
              <a:latin typeface="Calibri" panose="020F0502020204030204"/>
            </a:endParaRPr>
          </a:p>
        </p:txBody>
      </p:sp>
      <p:sp>
        <p:nvSpPr>
          <p:cNvPr id="231" name="Diamond 230"/>
          <p:cNvSpPr/>
          <p:nvPr/>
        </p:nvSpPr>
        <p:spPr>
          <a:xfrm>
            <a:off x="1538985" y="5186531"/>
            <a:ext cx="1446258" cy="595019"/>
          </a:xfrm>
          <a:prstGeom prst="diamond">
            <a:avLst/>
          </a:prstGeom>
          <a:solidFill>
            <a:srgbClr val="ED7D31">
              <a:lumMod val="40000"/>
              <a:lumOff val="60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prstClr val="black"/>
                </a:solidFill>
                <a:effectLst/>
                <a:uLnTx/>
                <a:uFillTx/>
                <a:latin typeface="Calibri" panose="020F0502020204030204"/>
                <a:ea typeface="+mn-ea"/>
                <a:cs typeface="+mn-cs"/>
              </a:rPr>
              <a:t>Release Approval Received?</a:t>
            </a:r>
          </a:p>
        </p:txBody>
      </p:sp>
      <p:cxnSp>
        <p:nvCxnSpPr>
          <p:cNvPr id="232" name="Straight Arrow Connector 231"/>
          <p:cNvCxnSpPr/>
          <p:nvPr/>
        </p:nvCxnSpPr>
        <p:spPr>
          <a:xfrm flipH="1" flipV="1">
            <a:off x="4452373" y="5518771"/>
            <a:ext cx="587911" cy="5108"/>
          </a:xfrm>
          <a:prstGeom prst="straightConnector1">
            <a:avLst/>
          </a:prstGeom>
          <a:noFill/>
          <a:ln w="38100" cap="flat" cmpd="sng" algn="ctr">
            <a:solidFill>
              <a:sysClr val="windowText" lastClr="000000"/>
            </a:solidFill>
            <a:prstDash val="solid"/>
            <a:miter lim="800000"/>
            <a:tailEnd type="triangle"/>
          </a:ln>
          <a:effectLst/>
        </p:spPr>
      </p:cxnSp>
      <p:sp>
        <p:nvSpPr>
          <p:cNvPr id="236" name="Rectangle 235"/>
          <p:cNvSpPr/>
          <p:nvPr/>
        </p:nvSpPr>
        <p:spPr>
          <a:xfrm>
            <a:off x="187722" y="5105976"/>
            <a:ext cx="1021375" cy="760797"/>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Prod Deployment</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243" name="Straight Arrow Connector 242"/>
          <p:cNvCxnSpPr>
            <a:stCxn id="231" idx="1"/>
            <a:endCxn id="236" idx="3"/>
          </p:cNvCxnSpPr>
          <p:nvPr/>
        </p:nvCxnSpPr>
        <p:spPr>
          <a:xfrm flipH="1">
            <a:off x="1209097" y="5484041"/>
            <a:ext cx="329888" cy="2334"/>
          </a:xfrm>
          <a:prstGeom prst="straightConnector1">
            <a:avLst/>
          </a:prstGeom>
          <a:noFill/>
          <a:ln w="38100" cap="flat" cmpd="sng" algn="ctr">
            <a:solidFill>
              <a:srgbClr val="00B050"/>
            </a:solidFill>
            <a:prstDash val="solid"/>
            <a:miter lim="800000"/>
            <a:tailEnd type="triangle"/>
          </a:ln>
          <a:effectLst/>
        </p:spPr>
      </p:cxnSp>
      <p:grpSp>
        <p:nvGrpSpPr>
          <p:cNvPr id="247" name="Group 246"/>
          <p:cNvGrpSpPr/>
          <p:nvPr/>
        </p:nvGrpSpPr>
        <p:grpSpPr>
          <a:xfrm>
            <a:off x="1805321" y="5940571"/>
            <a:ext cx="1818387" cy="900312"/>
            <a:chOff x="3889352" y="1545336"/>
            <a:chExt cx="1560343" cy="911625"/>
          </a:xfrm>
        </p:grpSpPr>
        <p:sp>
          <p:nvSpPr>
            <p:cNvPr id="248" name="Rectangle 247"/>
            <p:cNvSpPr/>
            <p:nvPr/>
          </p:nvSpPr>
          <p:spPr>
            <a:xfrm>
              <a:off x="3889352" y="1545336"/>
              <a:ext cx="1542184" cy="871286"/>
            </a:xfrm>
            <a:prstGeom prst="rect">
              <a:avLst/>
            </a:prstGeom>
            <a:solidFill>
              <a:schemeClr val="bg1"/>
            </a:solidFill>
            <a:ln w="1905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249" name="Group 248"/>
            <p:cNvGrpSpPr/>
            <p:nvPr/>
          </p:nvGrpSpPr>
          <p:grpSpPr>
            <a:xfrm>
              <a:off x="3994296" y="1892134"/>
              <a:ext cx="577704" cy="467926"/>
              <a:chOff x="7800498" y="2925935"/>
              <a:chExt cx="795270" cy="721994"/>
            </a:xfrm>
          </p:grpSpPr>
          <p:sp>
            <p:nvSpPr>
              <p:cNvPr id="256" name="Rounded Rectangle 89"/>
              <p:cNvSpPr/>
              <p:nvPr/>
            </p:nvSpPr>
            <p:spPr>
              <a:xfrm>
                <a:off x="7800498" y="3459560"/>
                <a:ext cx="795270" cy="188369"/>
              </a:xfrm>
              <a:prstGeom prst="roundRect">
                <a:avLst/>
              </a:prstGeom>
              <a:solidFill>
                <a:srgbClr val="44546A"/>
              </a:solidFill>
              <a:ln w="12700" cap="flat" cmpd="sng" algn="ctr">
                <a:noFill/>
                <a:prstDash val="solid"/>
                <a:miter lim="800000"/>
              </a:ln>
              <a:effectLst/>
            </p:spPr>
            <p:txBody>
              <a:bodyPr lIns="72931" tIns="36465" rIns="72931" bIns="36465"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Light" panose="020F0302020204030204"/>
                    <a:ea typeface="+mn-ea"/>
                    <a:cs typeface="+mn-cs"/>
                  </a:rPr>
                  <a:t>Approver</a:t>
                </a:r>
              </a:p>
            </p:txBody>
          </p:sp>
          <p:grpSp>
            <p:nvGrpSpPr>
              <p:cNvPr id="257" name="Group 256">
                <a:extLst>
                  <a:ext uri="{FF2B5EF4-FFF2-40B4-BE49-F238E27FC236}">
                    <a16:creationId xmlns="" xmlns:a16="http://schemas.microsoft.com/office/drawing/2014/main" id="{929A56F6-AE8C-4089-BB50-406D351877A6}"/>
                  </a:ext>
                </a:extLst>
              </p:cNvPr>
              <p:cNvGrpSpPr/>
              <p:nvPr/>
            </p:nvGrpSpPr>
            <p:grpSpPr>
              <a:xfrm>
                <a:off x="7999149" y="2925935"/>
                <a:ext cx="428840" cy="486248"/>
                <a:chOff x="8042277" y="2738580"/>
                <a:chExt cx="360571" cy="468817"/>
              </a:xfrm>
              <a:solidFill>
                <a:srgbClr val="44546A"/>
              </a:solidFill>
            </p:grpSpPr>
            <p:sp>
              <p:nvSpPr>
                <p:cNvPr id="258" name="Freeform 353">
                  <a:extLst>
                    <a:ext uri="{FF2B5EF4-FFF2-40B4-BE49-F238E27FC236}">
                      <a16:creationId xmlns="" xmlns:a16="http://schemas.microsoft.com/office/drawing/2014/main" id="{055E6B55-02C5-4ED3-97E0-7A47AB3EE633}"/>
                    </a:ext>
                  </a:extLst>
                </p:cNvPr>
                <p:cNvSpPr>
                  <a:spLocks/>
                </p:cNvSpPr>
                <p:nvPr/>
              </p:nvSpPr>
              <p:spPr bwMode="auto">
                <a:xfrm>
                  <a:off x="8042277" y="2967380"/>
                  <a:ext cx="360571" cy="240017"/>
                </a:xfrm>
                <a:custGeom>
                  <a:avLst/>
                  <a:gdLst>
                    <a:gd name="T0" fmla="*/ 909 w 914"/>
                    <a:gd name="T1" fmla="*/ 480 h 594"/>
                    <a:gd name="T2" fmla="*/ 904 w 914"/>
                    <a:gd name="T3" fmla="*/ 311 h 594"/>
                    <a:gd name="T4" fmla="*/ 617 w 914"/>
                    <a:gd name="T5" fmla="*/ 5 h 594"/>
                    <a:gd name="T6" fmla="*/ 600 w 914"/>
                    <a:gd name="T7" fmla="*/ 0 h 594"/>
                    <a:gd name="T8" fmla="*/ 579 w 914"/>
                    <a:gd name="T9" fmla="*/ 45 h 594"/>
                    <a:gd name="T10" fmla="*/ 636 w 914"/>
                    <a:gd name="T11" fmla="*/ 65 h 594"/>
                    <a:gd name="T12" fmla="*/ 527 w 914"/>
                    <a:gd name="T13" fmla="*/ 432 h 594"/>
                    <a:gd name="T14" fmla="*/ 488 w 914"/>
                    <a:gd name="T15" fmla="*/ 142 h 594"/>
                    <a:gd name="T16" fmla="*/ 487 w 914"/>
                    <a:gd name="T17" fmla="*/ 141 h 594"/>
                    <a:gd name="T18" fmla="*/ 463 w 914"/>
                    <a:gd name="T19" fmla="*/ 141 h 594"/>
                    <a:gd name="T20" fmla="*/ 439 w 914"/>
                    <a:gd name="T21" fmla="*/ 141 h 594"/>
                    <a:gd name="T22" fmla="*/ 438 w 914"/>
                    <a:gd name="T23" fmla="*/ 142 h 594"/>
                    <a:gd name="T24" fmla="*/ 399 w 914"/>
                    <a:gd name="T25" fmla="*/ 432 h 594"/>
                    <a:gd name="T26" fmla="*/ 291 w 914"/>
                    <a:gd name="T27" fmla="*/ 65 h 594"/>
                    <a:gd name="T28" fmla="*/ 347 w 914"/>
                    <a:gd name="T29" fmla="*/ 45 h 594"/>
                    <a:gd name="T30" fmla="*/ 326 w 914"/>
                    <a:gd name="T31" fmla="*/ 0 h 594"/>
                    <a:gd name="T32" fmla="*/ 310 w 914"/>
                    <a:gd name="T33" fmla="*/ 5 h 594"/>
                    <a:gd name="T34" fmla="*/ 22 w 914"/>
                    <a:gd name="T35" fmla="*/ 311 h 594"/>
                    <a:gd name="T36" fmla="*/ 16 w 914"/>
                    <a:gd name="T37" fmla="*/ 418 h 594"/>
                    <a:gd name="T38" fmla="*/ 455 w 914"/>
                    <a:gd name="T39" fmla="*/ 480 h 594"/>
                    <a:gd name="T40" fmla="*/ 909 w 914"/>
                    <a:gd name="T41" fmla="*/ 48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4" h="594">
                      <a:moveTo>
                        <a:pt x="909" y="480"/>
                      </a:moveTo>
                      <a:cubicBezTo>
                        <a:pt x="909" y="430"/>
                        <a:pt x="914" y="358"/>
                        <a:pt x="904" y="311"/>
                      </a:cubicBezTo>
                      <a:cubicBezTo>
                        <a:pt x="876" y="172"/>
                        <a:pt x="748" y="46"/>
                        <a:pt x="617" y="5"/>
                      </a:cubicBezTo>
                      <a:cubicBezTo>
                        <a:pt x="600" y="0"/>
                        <a:pt x="600" y="0"/>
                        <a:pt x="600" y="0"/>
                      </a:cubicBezTo>
                      <a:cubicBezTo>
                        <a:pt x="579" y="45"/>
                        <a:pt x="579" y="45"/>
                        <a:pt x="579" y="45"/>
                      </a:cubicBezTo>
                      <a:cubicBezTo>
                        <a:pt x="636" y="65"/>
                        <a:pt x="636" y="65"/>
                        <a:pt x="636" y="65"/>
                      </a:cubicBezTo>
                      <a:cubicBezTo>
                        <a:pt x="527" y="432"/>
                        <a:pt x="527" y="432"/>
                        <a:pt x="527" y="432"/>
                      </a:cubicBezTo>
                      <a:cubicBezTo>
                        <a:pt x="488" y="142"/>
                        <a:pt x="488" y="142"/>
                        <a:pt x="488" y="142"/>
                      </a:cubicBezTo>
                      <a:cubicBezTo>
                        <a:pt x="488" y="141"/>
                        <a:pt x="488" y="141"/>
                        <a:pt x="487" y="141"/>
                      </a:cubicBezTo>
                      <a:cubicBezTo>
                        <a:pt x="463" y="141"/>
                        <a:pt x="463" y="141"/>
                        <a:pt x="463" y="141"/>
                      </a:cubicBezTo>
                      <a:cubicBezTo>
                        <a:pt x="439" y="141"/>
                        <a:pt x="439" y="141"/>
                        <a:pt x="439" y="141"/>
                      </a:cubicBezTo>
                      <a:cubicBezTo>
                        <a:pt x="439" y="141"/>
                        <a:pt x="438" y="141"/>
                        <a:pt x="438" y="142"/>
                      </a:cubicBezTo>
                      <a:cubicBezTo>
                        <a:pt x="399" y="432"/>
                        <a:pt x="399" y="432"/>
                        <a:pt x="399" y="432"/>
                      </a:cubicBezTo>
                      <a:cubicBezTo>
                        <a:pt x="291" y="65"/>
                        <a:pt x="291" y="65"/>
                        <a:pt x="291" y="65"/>
                      </a:cubicBezTo>
                      <a:cubicBezTo>
                        <a:pt x="347" y="45"/>
                        <a:pt x="347" y="45"/>
                        <a:pt x="347" y="45"/>
                      </a:cubicBezTo>
                      <a:cubicBezTo>
                        <a:pt x="326" y="0"/>
                        <a:pt x="326" y="0"/>
                        <a:pt x="326" y="0"/>
                      </a:cubicBezTo>
                      <a:cubicBezTo>
                        <a:pt x="310" y="5"/>
                        <a:pt x="310" y="5"/>
                        <a:pt x="310" y="5"/>
                      </a:cubicBezTo>
                      <a:cubicBezTo>
                        <a:pt x="178" y="46"/>
                        <a:pt x="51" y="172"/>
                        <a:pt x="22" y="311"/>
                      </a:cubicBezTo>
                      <a:cubicBezTo>
                        <a:pt x="16" y="341"/>
                        <a:pt x="16" y="381"/>
                        <a:pt x="16" y="418"/>
                      </a:cubicBezTo>
                      <a:cubicBezTo>
                        <a:pt x="16" y="418"/>
                        <a:pt x="0" y="594"/>
                        <a:pt x="455" y="480"/>
                      </a:cubicBezTo>
                      <a:cubicBezTo>
                        <a:pt x="910" y="365"/>
                        <a:pt x="909" y="480"/>
                        <a:pt x="909" y="48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59" name="Freeform 354">
                  <a:extLst>
                    <a:ext uri="{FF2B5EF4-FFF2-40B4-BE49-F238E27FC236}">
                      <a16:creationId xmlns="" xmlns:a16="http://schemas.microsoft.com/office/drawing/2014/main" id="{155C873A-9129-4C42-A81C-7666A078D269}"/>
                    </a:ext>
                  </a:extLst>
                </p:cNvPr>
                <p:cNvSpPr>
                  <a:spLocks/>
                </p:cNvSpPr>
                <p:nvPr/>
              </p:nvSpPr>
              <p:spPr bwMode="auto">
                <a:xfrm>
                  <a:off x="8297519" y="3104417"/>
                  <a:ext cx="68118" cy="11620"/>
                </a:xfrm>
                <a:custGeom>
                  <a:avLst/>
                  <a:gdLst>
                    <a:gd name="T0" fmla="*/ 2 w 170"/>
                    <a:gd name="T1" fmla="*/ 29 h 29"/>
                    <a:gd name="T2" fmla="*/ 0 w 170"/>
                    <a:gd name="T3" fmla="*/ 27 h 29"/>
                    <a:gd name="T4" fmla="*/ 170 w 170"/>
                    <a:gd name="T5" fmla="*/ 27 h 29"/>
                    <a:gd name="T6" fmla="*/ 169 w 170"/>
                    <a:gd name="T7" fmla="*/ 29 h 29"/>
                    <a:gd name="T8" fmla="*/ 169 w 170"/>
                    <a:gd name="T9" fmla="*/ 0 h 29"/>
                    <a:gd name="T10" fmla="*/ 170 w 170"/>
                    <a:gd name="T11" fmla="*/ 1 h 29"/>
                    <a:gd name="T12" fmla="*/ 0 w 170"/>
                    <a:gd name="T13" fmla="*/ 1 h 29"/>
                    <a:gd name="T14" fmla="*/ 2 w 170"/>
                    <a:gd name="T15" fmla="*/ 0 h 29"/>
                    <a:gd name="T16" fmla="*/ 2 w 170"/>
                    <a:gd name="T17" fmla="*/ 29 h 29"/>
                    <a:gd name="T18" fmla="*/ 2 w 170"/>
                    <a:gd name="T19" fmla="*/ 29 h 29"/>
                    <a:gd name="T20" fmla="*/ 2 w 170"/>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29">
                      <a:moveTo>
                        <a:pt x="2" y="29"/>
                      </a:moveTo>
                      <a:lnTo>
                        <a:pt x="0" y="27"/>
                      </a:lnTo>
                      <a:lnTo>
                        <a:pt x="170" y="27"/>
                      </a:lnTo>
                      <a:lnTo>
                        <a:pt x="169" y="29"/>
                      </a:lnTo>
                      <a:lnTo>
                        <a:pt x="169" y="0"/>
                      </a:lnTo>
                      <a:lnTo>
                        <a:pt x="170" y="1"/>
                      </a:lnTo>
                      <a:lnTo>
                        <a:pt x="0" y="1"/>
                      </a:lnTo>
                      <a:lnTo>
                        <a:pt x="2" y="0"/>
                      </a:lnTo>
                      <a:lnTo>
                        <a:pt x="2" y="29"/>
                      </a:lnTo>
                      <a:lnTo>
                        <a:pt x="2" y="29"/>
                      </a:lnTo>
                      <a:lnTo>
                        <a:pt x="2" y="29"/>
                      </a:ln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0" name="Freeform 355">
                  <a:extLst>
                    <a:ext uri="{FF2B5EF4-FFF2-40B4-BE49-F238E27FC236}">
                      <a16:creationId xmlns="" xmlns:a16="http://schemas.microsoft.com/office/drawing/2014/main" id="{BEBC07C3-8136-4124-B228-DFA63AE5595D}"/>
                    </a:ext>
                  </a:extLst>
                </p:cNvPr>
                <p:cNvSpPr>
                  <a:spLocks/>
                </p:cNvSpPr>
                <p:nvPr/>
              </p:nvSpPr>
              <p:spPr bwMode="auto">
                <a:xfrm>
                  <a:off x="8140037" y="2738580"/>
                  <a:ext cx="164429" cy="125002"/>
                </a:xfrm>
                <a:custGeom>
                  <a:avLst/>
                  <a:gdLst>
                    <a:gd name="T0" fmla="*/ 302 w 417"/>
                    <a:gd name="T1" fmla="*/ 170 h 310"/>
                    <a:gd name="T2" fmla="*/ 312 w 417"/>
                    <a:gd name="T3" fmla="*/ 188 h 310"/>
                    <a:gd name="T4" fmla="*/ 417 w 417"/>
                    <a:gd name="T5" fmla="*/ 272 h 310"/>
                    <a:gd name="T6" fmla="*/ 397 w 417"/>
                    <a:gd name="T7" fmla="*/ 159 h 310"/>
                    <a:gd name="T8" fmla="*/ 152 w 417"/>
                    <a:gd name="T9" fmla="*/ 35 h 310"/>
                    <a:gd name="T10" fmla="*/ 11 w 417"/>
                    <a:gd name="T11" fmla="*/ 310 h 310"/>
                    <a:gd name="T12" fmla="*/ 49 w 417"/>
                    <a:gd name="T13" fmla="*/ 308 h 310"/>
                    <a:gd name="T14" fmla="*/ 302 w 417"/>
                    <a:gd name="T15" fmla="*/ 170 h 3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310">
                      <a:moveTo>
                        <a:pt x="302" y="170"/>
                      </a:moveTo>
                      <a:cubicBezTo>
                        <a:pt x="312" y="188"/>
                        <a:pt x="312" y="188"/>
                        <a:pt x="312" y="188"/>
                      </a:cubicBezTo>
                      <a:cubicBezTo>
                        <a:pt x="335" y="233"/>
                        <a:pt x="374" y="256"/>
                        <a:pt x="417" y="272"/>
                      </a:cubicBezTo>
                      <a:cubicBezTo>
                        <a:pt x="417" y="232"/>
                        <a:pt x="410" y="193"/>
                        <a:pt x="397" y="159"/>
                      </a:cubicBezTo>
                      <a:cubicBezTo>
                        <a:pt x="357" y="57"/>
                        <a:pt x="256" y="0"/>
                        <a:pt x="152" y="35"/>
                      </a:cubicBezTo>
                      <a:cubicBezTo>
                        <a:pt x="39" y="74"/>
                        <a:pt x="0" y="199"/>
                        <a:pt x="11" y="310"/>
                      </a:cubicBezTo>
                      <a:cubicBezTo>
                        <a:pt x="49" y="308"/>
                        <a:pt x="49" y="308"/>
                        <a:pt x="49" y="308"/>
                      </a:cubicBezTo>
                      <a:cubicBezTo>
                        <a:pt x="151" y="300"/>
                        <a:pt x="232" y="250"/>
                        <a:pt x="302" y="17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1" name="Freeform 356">
                  <a:extLst>
                    <a:ext uri="{FF2B5EF4-FFF2-40B4-BE49-F238E27FC236}">
                      <a16:creationId xmlns="" xmlns:a16="http://schemas.microsoft.com/office/drawing/2014/main" id="{3641A9CD-661F-47E1-934C-57D892823FC6}"/>
                    </a:ext>
                  </a:extLst>
                </p:cNvPr>
                <p:cNvSpPr>
                  <a:spLocks/>
                </p:cNvSpPr>
                <p:nvPr/>
              </p:nvSpPr>
              <p:spPr bwMode="auto">
                <a:xfrm>
                  <a:off x="8144453" y="2807501"/>
                  <a:ext cx="163884" cy="159878"/>
                </a:xfrm>
                <a:custGeom>
                  <a:avLst/>
                  <a:gdLst>
                    <a:gd name="T0" fmla="*/ 301 w 406"/>
                    <a:gd name="T1" fmla="*/ 18 h 395"/>
                    <a:gd name="T2" fmla="*/ 291 w 406"/>
                    <a:gd name="T3" fmla="*/ 0 h 395"/>
                    <a:gd name="T4" fmla="*/ 38 w 406"/>
                    <a:gd name="T5" fmla="*/ 138 h 395"/>
                    <a:gd name="T6" fmla="*/ 0 w 406"/>
                    <a:gd name="T7" fmla="*/ 140 h 395"/>
                    <a:gd name="T8" fmla="*/ 2 w 406"/>
                    <a:gd name="T9" fmla="*/ 156 h 395"/>
                    <a:gd name="T10" fmla="*/ 191 w 406"/>
                    <a:gd name="T11" fmla="*/ 392 h 395"/>
                    <a:gd name="T12" fmla="*/ 272 w 406"/>
                    <a:gd name="T13" fmla="*/ 374 h 395"/>
                    <a:gd name="T14" fmla="*/ 406 w 406"/>
                    <a:gd name="T15" fmla="*/ 102 h 395"/>
                    <a:gd name="T16" fmla="*/ 301 w 406"/>
                    <a:gd name="T17" fmla="*/ 1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395">
                      <a:moveTo>
                        <a:pt x="301" y="18"/>
                      </a:moveTo>
                      <a:cubicBezTo>
                        <a:pt x="291" y="0"/>
                        <a:pt x="291" y="0"/>
                        <a:pt x="291" y="0"/>
                      </a:cubicBezTo>
                      <a:cubicBezTo>
                        <a:pt x="221" y="80"/>
                        <a:pt x="140" y="130"/>
                        <a:pt x="38" y="138"/>
                      </a:cubicBezTo>
                      <a:cubicBezTo>
                        <a:pt x="0" y="140"/>
                        <a:pt x="0" y="140"/>
                        <a:pt x="0" y="140"/>
                      </a:cubicBezTo>
                      <a:cubicBezTo>
                        <a:pt x="1" y="145"/>
                        <a:pt x="2" y="151"/>
                        <a:pt x="2" y="156"/>
                      </a:cubicBezTo>
                      <a:cubicBezTo>
                        <a:pt x="17" y="254"/>
                        <a:pt x="83" y="384"/>
                        <a:pt x="191" y="392"/>
                      </a:cubicBezTo>
                      <a:cubicBezTo>
                        <a:pt x="220" y="395"/>
                        <a:pt x="248" y="388"/>
                        <a:pt x="272" y="374"/>
                      </a:cubicBezTo>
                      <a:cubicBezTo>
                        <a:pt x="357" y="326"/>
                        <a:pt x="405" y="210"/>
                        <a:pt x="406" y="102"/>
                      </a:cubicBezTo>
                      <a:cubicBezTo>
                        <a:pt x="363" y="86"/>
                        <a:pt x="324" y="63"/>
                        <a:pt x="301" y="18"/>
                      </a:cubicBezTo>
                      <a:close/>
                    </a:path>
                  </a:pathLst>
                </a:custGeom>
                <a:solidFill>
                  <a:srgbClr val="FFC000">
                    <a:lumMod val="20000"/>
                    <a:lumOff val="80000"/>
                  </a:srgbClr>
                </a:solidFill>
                <a:ln w="6350" cap="rnd">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sp>
              <p:nvSpPr>
                <p:cNvPr id="262" name="Freeform 357">
                  <a:extLst>
                    <a:ext uri="{FF2B5EF4-FFF2-40B4-BE49-F238E27FC236}">
                      <a16:creationId xmlns="" xmlns:a16="http://schemas.microsoft.com/office/drawing/2014/main" id="{59FB39BC-D38B-44C6-AE24-D628DFBABD6A}"/>
                    </a:ext>
                  </a:extLst>
                </p:cNvPr>
                <p:cNvSpPr>
                  <a:spLocks/>
                </p:cNvSpPr>
                <p:nvPr/>
              </p:nvSpPr>
              <p:spPr bwMode="auto">
                <a:xfrm>
                  <a:off x="8206561" y="2990218"/>
                  <a:ext cx="45679" cy="22840"/>
                </a:xfrm>
                <a:custGeom>
                  <a:avLst/>
                  <a:gdLst>
                    <a:gd name="T0" fmla="*/ 28 w 113"/>
                    <a:gd name="T1" fmla="*/ 0 h 57"/>
                    <a:gd name="T2" fmla="*/ 29 w 113"/>
                    <a:gd name="T3" fmla="*/ 0 h 57"/>
                    <a:gd name="T4" fmla="*/ 83 w 113"/>
                    <a:gd name="T5" fmla="*/ 0 h 57"/>
                    <a:gd name="T6" fmla="*/ 84 w 113"/>
                    <a:gd name="T7" fmla="*/ 0 h 57"/>
                    <a:gd name="T8" fmla="*/ 112 w 113"/>
                    <a:gd name="T9" fmla="*/ 20 h 57"/>
                    <a:gd name="T10" fmla="*/ 112 w 113"/>
                    <a:gd name="T11" fmla="*/ 21 h 57"/>
                    <a:gd name="T12" fmla="*/ 82 w 113"/>
                    <a:gd name="T13" fmla="*/ 56 h 57"/>
                    <a:gd name="T14" fmla="*/ 81 w 113"/>
                    <a:gd name="T15" fmla="*/ 57 h 57"/>
                    <a:gd name="T16" fmla="*/ 31 w 113"/>
                    <a:gd name="T17" fmla="*/ 57 h 57"/>
                    <a:gd name="T18" fmla="*/ 30 w 113"/>
                    <a:gd name="T19" fmla="*/ 56 h 57"/>
                    <a:gd name="T20" fmla="*/ 0 w 113"/>
                    <a:gd name="T21" fmla="*/ 21 h 57"/>
                    <a:gd name="T22" fmla="*/ 0 w 113"/>
                    <a:gd name="T23" fmla="*/ 20 h 57"/>
                    <a:gd name="T24" fmla="*/ 28 w 113"/>
                    <a:gd name="T25" fmla="*/ 0 h 57"/>
                    <a:gd name="T26" fmla="*/ 28 w 113"/>
                    <a:gd name="T2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57">
                      <a:moveTo>
                        <a:pt x="28" y="0"/>
                      </a:moveTo>
                      <a:cubicBezTo>
                        <a:pt x="29" y="0"/>
                        <a:pt x="29" y="0"/>
                        <a:pt x="29" y="0"/>
                      </a:cubicBezTo>
                      <a:cubicBezTo>
                        <a:pt x="83" y="0"/>
                        <a:pt x="83" y="0"/>
                        <a:pt x="83" y="0"/>
                      </a:cubicBezTo>
                      <a:cubicBezTo>
                        <a:pt x="83" y="0"/>
                        <a:pt x="83" y="0"/>
                        <a:pt x="84" y="0"/>
                      </a:cubicBezTo>
                      <a:cubicBezTo>
                        <a:pt x="112" y="20"/>
                        <a:pt x="112" y="20"/>
                        <a:pt x="112" y="20"/>
                      </a:cubicBezTo>
                      <a:cubicBezTo>
                        <a:pt x="113" y="20"/>
                        <a:pt x="113" y="21"/>
                        <a:pt x="112" y="21"/>
                      </a:cubicBezTo>
                      <a:cubicBezTo>
                        <a:pt x="82" y="56"/>
                        <a:pt x="82" y="56"/>
                        <a:pt x="82" y="56"/>
                      </a:cubicBezTo>
                      <a:cubicBezTo>
                        <a:pt x="82" y="56"/>
                        <a:pt x="82" y="57"/>
                        <a:pt x="81" y="57"/>
                      </a:cubicBezTo>
                      <a:cubicBezTo>
                        <a:pt x="31" y="57"/>
                        <a:pt x="31" y="57"/>
                        <a:pt x="31" y="57"/>
                      </a:cubicBezTo>
                      <a:cubicBezTo>
                        <a:pt x="31" y="57"/>
                        <a:pt x="30" y="56"/>
                        <a:pt x="30" y="56"/>
                      </a:cubicBezTo>
                      <a:cubicBezTo>
                        <a:pt x="0" y="21"/>
                        <a:pt x="0" y="21"/>
                        <a:pt x="0" y="21"/>
                      </a:cubicBezTo>
                      <a:cubicBezTo>
                        <a:pt x="0" y="21"/>
                        <a:pt x="0" y="20"/>
                        <a:pt x="0" y="20"/>
                      </a:cubicBezTo>
                      <a:cubicBezTo>
                        <a:pt x="28" y="0"/>
                        <a:pt x="28" y="0"/>
                        <a:pt x="28" y="0"/>
                      </a:cubicBezTo>
                      <a:cubicBezTo>
                        <a:pt x="28" y="0"/>
                        <a:pt x="28" y="0"/>
                        <a:pt x="28" y="0"/>
                      </a:cubicBezTo>
                      <a:close/>
                    </a:path>
                  </a:pathLst>
                </a:custGeom>
                <a:grpFill/>
                <a:ln w="6350" cap="rnd">
                  <a:noFill/>
                  <a:prstDash val="solid"/>
                  <a:round/>
                  <a:headEnd/>
                  <a:tailEnd/>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smtClean="0">
                    <a:ln>
                      <a:noFill/>
                    </a:ln>
                    <a:solidFill>
                      <a:prstClr val="black"/>
                    </a:solidFill>
                    <a:effectLst/>
                    <a:uLnTx/>
                    <a:uFillTx/>
                    <a:latin typeface="Calibri Light" panose="020F0302020204030204"/>
                  </a:endParaRPr>
                </a:p>
              </p:txBody>
            </p:sp>
          </p:grpSp>
        </p:grpSp>
        <p:grpSp>
          <p:nvGrpSpPr>
            <p:cNvPr id="250" name="Group 249"/>
            <p:cNvGrpSpPr/>
            <p:nvPr/>
          </p:nvGrpSpPr>
          <p:grpSpPr>
            <a:xfrm>
              <a:off x="4742772" y="2138049"/>
              <a:ext cx="706923" cy="318912"/>
              <a:chOff x="7677760" y="2904997"/>
              <a:chExt cx="814556" cy="407199"/>
            </a:xfrm>
          </p:grpSpPr>
          <p:pic>
            <p:nvPicPr>
              <p:cNvPr id="254" name="Picture 253"/>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677760" y="2904997"/>
                <a:ext cx="356645" cy="341738"/>
              </a:xfrm>
              <a:prstGeom prst="rect">
                <a:avLst/>
              </a:prstGeom>
            </p:spPr>
          </p:pic>
          <p:sp>
            <p:nvSpPr>
              <p:cNvPr id="255" name="TextBox 254"/>
              <p:cNvSpPr txBox="1"/>
              <p:nvPr/>
            </p:nvSpPr>
            <p:spPr>
              <a:xfrm>
                <a:off x="7923000" y="2993861"/>
                <a:ext cx="569316" cy="31833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Light" panose="020F0302020204030204"/>
                  </a:rPr>
                  <a:t>DevOps</a:t>
                </a:r>
              </a:p>
            </p:txBody>
          </p:sp>
        </p:grpSp>
        <p:sp>
          <p:nvSpPr>
            <p:cNvPr id="251" name="TextBox 250"/>
            <p:cNvSpPr txBox="1"/>
            <p:nvPr/>
          </p:nvSpPr>
          <p:spPr>
            <a:xfrm>
              <a:off x="4006437" y="1630632"/>
              <a:ext cx="505093" cy="25710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black"/>
                  </a:solidFill>
                  <a:effectLst/>
                  <a:uLnTx/>
                  <a:uFillTx/>
                  <a:latin typeface="Calibri Light" panose="020F0302020204030204"/>
                </a:rPr>
                <a:t>Manual</a:t>
              </a:r>
            </a:p>
          </p:txBody>
        </p:sp>
        <p:sp>
          <p:nvSpPr>
            <p:cNvPr id="252" name="TextBox 251"/>
            <p:cNvSpPr txBox="1"/>
            <p:nvPr/>
          </p:nvSpPr>
          <p:spPr>
            <a:xfrm>
              <a:off x="4693269" y="1627483"/>
              <a:ext cx="701835" cy="514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black"/>
                  </a:solidFill>
                  <a:effectLst/>
                  <a:uLnTx/>
                  <a:uFillTx/>
                  <a:latin typeface="Calibri Light" panose="020F0302020204030204"/>
                </a:rPr>
                <a:t>Automated based on Condition</a:t>
              </a:r>
            </a:p>
          </p:txBody>
        </p:sp>
        <p:cxnSp>
          <p:nvCxnSpPr>
            <p:cNvPr id="253" name="Straight Connector 252"/>
            <p:cNvCxnSpPr>
              <a:stCxn id="248" idx="2"/>
              <a:endCxn id="248" idx="0"/>
            </p:cNvCxnSpPr>
            <p:nvPr/>
          </p:nvCxnSpPr>
          <p:spPr>
            <a:xfrm flipV="1">
              <a:off x="4660444" y="1545336"/>
              <a:ext cx="0" cy="871286"/>
            </a:xfrm>
            <a:prstGeom prst="line">
              <a:avLst/>
            </a:prstGeom>
            <a:noFill/>
            <a:ln w="57150" cap="flat" cmpd="sng" algn="ctr">
              <a:solidFill>
                <a:srgbClr val="5B9BD5"/>
              </a:solidFill>
              <a:prstDash val="solid"/>
              <a:miter lim="800000"/>
            </a:ln>
            <a:effectLst/>
          </p:spPr>
        </p:cxnSp>
      </p:grpSp>
      <p:grpSp>
        <p:nvGrpSpPr>
          <p:cNvPr id="127" name="Group 126"/>
          <p:cNvGrpSpPr/>
          <p:nvPr/>
        </p:nvGrpSpPr>
        <p:grpSpPr>
          <a:xfrm>
            <a:off x="10401708" y="1523558"/>
            <a:ext cx="1072405" cy="829217"/>
            <a:chOff x="1725538" y="2423334"/>
            <a:chExt cx="1213327" cy="902166"/>
          </a:xfrm>
        </p:grpSpPr>
        <p:sp>
          <p:nvSpPr>
            <p:cNvPr id="128" name="Rectangle 127"/>
            <p:cNvSpPr/>
            <p:nvPr/>
          </p:nvSpPr>
          <p:spPr>
            <a:xfrm>
              <a:off x="1725538" y="2423334"/>
              <a:ext cx="1213327" cy="902166"/>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a:t>
              </a:r>
            </a:p>
            <a:p>
              <a:pPr marL="0" marR="0" lvl="0" indent="0" algn="ctr" defTabSz="914400" eaLnBrk="1" fontAlgn="auto" latinLnBrk="0" hangingPunct="1">
                <a:lnSpc>
                  <a:spcPct val="75000"/>
                </a:lnSpc>
                <a:spcBef>
                  <a:spcPts val="0"/>
                </a:spcBef>
                <a:spcAft>
                  <a:spcPts val="0"/>
                </a:spcAft>
                <a:buClrTx/>
                <a:buSzTx/>
                <a:buFontTx/>
                <a:buNone/>
                <a:tabLst/>
                <a:defRPr/>
              </a:pPr>
              <a:r>
                <a:rPr lang="en-US" sz="1100" b="1" kern="0" dirty="0" smtClean="0">
                  <a:solidFill>
                    <a:prstClr val="black"/>
                  </a:solidFill>
                  <a:latin typeface="Calibri Light" panose="020F0302020204030204"/>
                </a:rPr>
                <a:t>success</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129" name="Picture 128"/>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2085551" y="2935640"/>
              <a:ext cx="356645" cy="341738"/>
            </a:xfrm>
            <a:prstGeom prst="rect">
              <a:avLst/>
            </a:prstGeom>
          </p:spPr>
        </p:pic>
      </p:grpSp>
      <p:sp>
        <p:nvSpPr>
          <p:cNvPr id="130" name="Rectangle 129"/>
          <p:cNvSpPr/>
          <p:nvPr/>
        </p:nvSpPr>
        <p:spPr>
          <a:xfrm>
            <a:off x="3393629" y="5172498"/>
            <a:ext cx="1072405" cy="702762"/>
          </a:xfrm>
          <a:prstGeom prst="rect">
            <a:avLst/>
          </a:prstGeom>
          <a:solidFill>
            <a:srgbClr val="70AD47">
              <a:lumMod val="60000"/>
              <a:lumOff val="40000"/>
            </a:srgb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Build Success</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138" name="Straight Arrow Connector 137"/>
          <p:cNvCxnSpPr/>
          <p:nvPr/>
        </p:nvCxnSpPr>
        <p:spPr>
          <a:xfrm flipH="1">
            <a:off x="3001614" y="5487754"/>
            <a:ext cx="339832" cy="5494"/>
          </a:xfrm>
          <a:prstGeom prst="straightConnector1">
            <a:avLst/>
          </a:prstGeom>
          <a:noFill/>
          <a:ln w="38100" cap="flat" cmpd="sng" algn="ctr">
            <a:solidFill>
              <a:srgbClr val="00B050"/>
            </a:solidFill>
            <a:prstDash val="solid"/>
            <a:miter lim="800000"/>
            <a:tailEnd type="triangle"/>
          </a:ln>
          <a:effectLst/>
        </p:spPr>
      </p:cxnSp>
      <p:pic>
        <p:nvPicPr>
          <p:cNvPr id="143" name="Picture 142"/>
          <p:cNvPicPr>
            <a:picLocks noChangeAspect="1"/>
          </p:cNvPicPr>
          <p:nvPr/>
        </p:nvPicPr>
        <p:blipFill>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734955" y="5584612"/>
            <a:ext cx="315222" cy="314105"/>
          </a:xfrm>
          <a:prstGeom prst="rect">
            <a:avLst/>
          </a:prstGeom>
        </p:spPr>
      </p:pic>
      <p:cxnSp>
        <p:nvCxnSpPr>
          <p:cNvPr id="145" name="Straight Arrow Connector 144"/>
          <p:cNvCxnSpPr>
            <a:stCxn id="128" idx="2"/>
            <a:endCxn id="165" idx="0"/>
          </p:cNvCxnSpPr>
          <p:nvPr/>
        </p:nvCxnSpPr>
        <p:spPr>
          <a:xfrm>
            <a:off x="10937911" y="2352775"/>
            <a:ext cx="4106" cy="418841"/>
          </a:xfrm>
          <a:prstGeom prst="straightConnector1">
            <a:avLst/>
          </a:prstGeom>
          <a:noFill/>
          <a:ln w="38100" cap="flat" cmpd="sng" algn="ctr">
            <a:solidFill>
              <a:srgbClr val="00B050"/>
            </a:solidFill>
            <a:prstDash val="solid"/>
            <a:miter lim="800000"/>
            <a:tailEnd type="triangle"/>
          </a:ln>
          <a:effectLst/>
        </p:spPr>
      </p:cxnSp>
      <p:cxnSp>
        <p:nvCxnSpPr>
          <p:cNvPr id="150" name="Straight Arrow Connector 149"/>
          <p:cNvCxnSpPr/>
          <p:nvPr/>
        </p:nvCxnSpPr>
        <p:spPr>
          <a:xfrm>
            <a:off x="10935779" y="1203118"/>
            <a:ext cx="0" cy="311793"/>
          </a:xfrm>
          <a:prstGeom prst="straightConnector1">
            <a:avLst/>
          </a:prstGeom>
          <a:noFill/>
          <a:ln w="38100" cap="flat" cmpd="sng" algn="ctr">
            <a:solidFill>
              <a:sysClr val="windowText" lastClr="000000"/>
            </a:solidFill>
            <a:prstDash val="solid"/>
            <a:miter lim="800000"/>
            <a:tailEnd type="triangle"/>
          </a:ln>
          <a:effectLst/>
        </p:spPr>
      </p:cxnSp>
      <p:cxnSp>
        <p:nvCxnSpPr>
          <p:cNvPr id="159" name="Elbow Connector 158"/>
          <p:cNvCxnSpPr>
            <a:stCxn id="231" idx="0"/>
            <a:endCxn id="98" idx="1"/>
          </p:cNvCxnSpPr>
          <p:nvPr/>
        </p:nvCxnSpPr>
        <p:spPr>
          <a:xfrm rot="5400000" flipH="1" flipV="1">
            <a:off x="2454194" y="4187597"/>
            <a:ext cx="806854" cy="1191014"/>
          </a:xfrm>
          <a:prstGeom prst="bentConnector2">
            <a:avLst/>
          </a:prstGeom>
          <a:noFill/>
          <a:ln w="19050" cap="flat" cmpd="sng" algn="ctr">
            <a:solidFill>
              <a:srgbClr val="FF0000"/>
            </a:solidFill>
            <a:prstDash val="solid"/>
            <a:miter lim="800000"/>
            <a:tailEnd type="triangle"/>
          </a:ln>
          <a:effectLst/>
        </p:spPr>
      </p:cxnSp>
      <p:sp>
        <p:nvSpPr>
          <p:cNvPr id="4" name="Oval 3"/>
          <p:cNvSpPr/>
          <p:nvPr/>
        </p:nvSpPr>
        <p:spPr>
          <a:xfrm>
            <a:off x="464177" y="3705945"/>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0</a:t>
            </a:r>
            <a:r>
              <a:rPr lang="en-US" sz="1100" dirty="0" smtClean="0"/>
              <a:t>1</a:t>
            </a:r>
            <a:endParaRPr lang="en-US" sz="1100" dirty="0"/>
          </a:p>
        </p:txBody>
      </p:sp>
      <p:sp>
        <p:nvSpPr>
          <p:cNvPr id="125" name="Oval 124"/>
          <p:cNvSpPr/>
          <p:nvPr/>
        </p:nvSpPr>
        <p:spPr>
          <a:xfrm>
            <a:off x="2123817" y="3681282"/>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2</a:t>
            </a:r>
            <a:endParaRPr lang="en-US" sz="1100" dirty="0"/>
          </a:p>
        </p:txBody>
      </p:sp>
      <p:sp>
        <p:nvSpPr>
          <p:cNvPr id="126" name="Oval 125"/>
          <p:cNvSpPr/>
          <p:nvPr/>
        </p:nvSpPr>
        <p:spPr>
          <a:xfrm>
            <a:off x="3722579" y="2380619"/>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3</a:t>
            </a:r>
            <a:endParaRPr lang="en-US" sz="1100" dirty="0"/>
          </a:p>
        </p:txBody>
      </p:sp>
      <p:sp>
        <p:nvSpPr>
          <p:cNvPr id="131" name="Oval 130"/>
          <p:cNvSpPr/>
          <p:nvPr/>
        </p:nvSpPr>
        <p:spPr>
          <a:xfrm>
            <a:off x="5781101" y="3718743"/>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4</a:t>
            </a:r>
            <a:endParaRPr lang="en-US" sz="1100" dirty="0"/>
          </a:p>
        </p:txBody>
      </p:sp>
      <p:sp>
        <p:nvSpPr>
          <p:cNvPr id="146" name="Oval 145"/>
          <p:cNvSpPr/>
          <p:nvPr/>
        </p:nvSpPr>
        <p:spPr>
          <a:xfrm>
            <a:off x="7844144" y="3498152"/>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5</a:t>
            </a:r>
            <a:endParaRPr lang="en-US" sz="1100" dirty="0"/>
          </a:p>
        </p:txBody>
      </p:sp>
      <p:sp>
        <p:nvSpPr>
          <p:cNvPr id="147" name="Oval 146"/>
          <p:cNvSpPr/>
          <p:nvPr/>
        </p:nvSpPr>
        <p:spPr>
          <a:xfrm>
            <a:off x="9325204" y="2455826"/>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6</a:t>
            </a:r>
            <a:endParaRPr lang="en-US" sz="1100" dirty="0"/>
          </a:p>
        </p:txBody>
      </p:sp>
      <p:sp>
        <p:nvSpPr>
          <p:cNvPr id="148" name="Oval 147"/>
          <p:cNvSpPr/>
          <p:nvPr/>
        </p:nvSpPr>
        <p:spPr>
          <a:xfrm>
            <a:off x="8244820" y="445560"/>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7</a:t>
            </a:r>
            <a:endParaRPr lang="en-US" sz="1100" dirty="0"/>
          </a:p>
        </p:txBody>
      </p:sp>
      <p:sp>
        <p:nvSpPr>
          <p:cNvPr id="149" name="Oval 148"/>
          <p:cNvSpPr/>
          <p:nvPr/>
        </p:nvSpPr>
        <p:spPr>
          <a:xfrm>
            <a:off x="11507975" y="60759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8</a:t>
            </a:r>
            <a:endParaRPr lang="en-US" sz="1100" dirty="0"/>
          </a:p>
        </p:txBody>
      </p:sp>
      <p:sp>
        <p:nvSpPr>
          <p:cNvPr id="151" name="Oval 150"/>
          <p:cNvSpPr/>
          <p:nvPr/>
        </p:nvSpPr>
        <p:spPr>
          <a:xfrm>
            <a:off x="11506971" y="176979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9</a:t>
            </a:r>
            <a:endParaRPr lang="en-US" sz="1100" dirty="0"/>
          </a:p>
        </p:txBody>
      </p:sp>
      <p:sp>
        <p:nvSpPr>
          <p:cNvPr id="152" name="Oval 151"/>
          <p:cNvSpPr/>
          <p:nvPr/>
        </p:nvSpPr>
        <p:spPr>
          <a:xfrm>
            <a:off x="11501682" y="2819508"/>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0</a:t>
            </a:r>
            <a:endParaRPr lang="en-US" sz="1100" dirty="0"/>
          </a:p>
        </p:txBody>
      </p:sp>
      <p:sp>
        <p:nvSpPr>
          <p:cNvPr id="153" name="Oval 152"/>
          <p:cNvSpPr/>
          <p:nvPr/>
        </p:nvSpPr>
        <p:spPr>
          <a:xfrm>
            <a:off x="9562031" y="5664561"/>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1</a:t>
            </a:r>
            <a:endParaRPr lang="en-US" sz="1100" dirty="0"/>
          </a:p>
        </p:txBody>
      </p:sp>
      <p:sp>
        <p:nvSpPr>
          <p:cNvPr id="155" name="Oval 154"/>
          <p:cNvSpPr/>
          <p:nvPr/>
        </p:nvSpPr>
        <p:spPr>
          <a:xfrm>
            <a:off x="6721855" y="5952135"/>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2</a:t>
            </a:r>
            <a:endParaRPr lang="en-US" sz="1100" dirty="0"/>
          </a:p>
        </p:txBody>
      </p:sp>
      <p:sp>
        <p:nvSpPr>
          <p:cNvPr id="157" name="Oval 156"/>
          <p:cNvSpPr/>
          <p:nvPr/>
        </p:nvSpPr>
        <p:spPr>
          <a:xfrm>
            <a:off x="5271447" y="6015011"/>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3</a:t>
            </a:r>
            <a:endParaRPr lang="en-US" sz="1100" dirty="0"/>
          </a:p>
        </p:txBody>
      </p:sp>
      <p:sp>
        <p:nvSpPr>
          <p:cNvPr id="158" name="Oval 157"/>
          <p:cNvSpPr/>
          <p:nvPr/>
        </p:nvSpPr>
        <p:spPr>
          <a:xfrm>
            <a:off x="3669817" y="5916224"/>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4</a:t>
            </a:r>
            <a:endParaRPr lang="en-US" sz="1100" dirty="0"/>
          </a:p>
        </p:txBody>
      </p:sp>
      <p:sp>
        <p:nvSpPr>
          <p:cNvPr id="162" name="Oval 161"/>
          <p:cNvSpPr/>
          <p:nvPr/>
        </p:nvSpPr>
        <p:spPr>
          <a:xfrm>
            <a:off x="2367990" y="4925017"/>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5</a:t>
            </a:r>
            <a:endParaRPr lang="en-US" sz="1100" dirty="0"/>
          </a:p>
        </p:txBody>
      </p:sp>
      <p:sp>
        <p:nvSpPr>
          <p:cNvPr id="164" name="Oval 163"/>
          <p:cNvSpPr/>
          <p:nvPr/>
        </p:nvSpPr>
        <p:spPr>
          <a:xfrm>
            <a:off x="383763" y="4747846"/>
            <a:ext cx="570682" cy="305796"/>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16</a:t>
            </a:r>
            <a:endParaRPr lang="en-US" sz="1100" dirty="0"/>
          </a:p>
        </p:txBody>
      </p:sp>
      <p:pic>
        <p:nvPicPr>
          <p:cNvPr id="61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6386" y="6105032"/>
            <a:ext cx="1419050" cy="63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61841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9243" y="547987"/>
            <a:ext cx="1453951" cy="598234"/>
            <a:chOff x="292468" y="2423335"/>
            <a:chExt cx="1071439" cy="856095"/>
          </a:xfrm>
          <a:solidFill>
            <a:schemeClr val="bg2">
              <a:lumMod val="75000"/>
            </a:schemeClr>
          </a:solidFill>
        </p:grpSpPr>
        <p:sp>
          <p:nvSpPr>
            <p:cNvPr id="4" name="Rectangle 3"/>
            <p:cNvSpPr/>
            <p:nvPr/>
          </p:nvSpPr>
          <p:spPr>
            <a:xfrm>
              <a:off x="292468" y="2423335"/>
              <a:ext cx="1071439" cy="856095"/>
            </a:xfrm>
            <a:prstGeom prst="rect">
              <a:avLst/>
            </a:prstGeom>
            <a:solidFill>
              <a:schemeClr val="bg1">
                <a:lumMod val="65000"/>
              </a:schemeClr>
            </a:solidFill>
            <a:ln w="19050" cap="flat" cmpd="sng" algn="ctr">
              <a:solidFill>
                <a:sysClr val="windowText" lastClr="000000"/>
              </a:solidFill>
              <a:prstDash val="solid"/>
              <a:miter lim="800000"/>
            </a:ln>
            <a:effectLst/>
          </p:spPr>
          <p:txBody>
            <a:bodyPr lIns="72931" tIns="36465" rIns="72931" bIns="36465" anchor="ctr"/>
            <a:lstStyle/>
            <a:p>
              <a:pPr marL="0" marR="0" lvl="0" indent="0" algn="ctr" defTabSz="914400" eaLnBrk="1" fontAlgn="auto" latinLnBrk="0" hangingPunct="1">
                <a:lnSpc>
                  <a:spcPct val="75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solidFill>
                  <a:effectLst/>
                  <a:uLnTx/>
                  <a:uFillTx/>
                  <a:latin typeface="Calibri Light" panose="020F0302020204030204"/>
                  <a:ea typeface="+mn-ea"/>
                  <a:cs typeface="+mn-cs"/>
                </a:rPr>
                <a:t>Source Code Control</a:t>
              </a:r>
              <a:endParaRPr kumimoji="0" lang="en-US" sz="1100" b="1" i="0" u="none" strike="noStrike" kern="0" cap="none" spc="0" normalizeH="0" baseline="0" noProof="0" dirty="0">
                <a:ln>
                  <a:noFill/>
                </a:ln>
                <a:solidFill>
                  <a:prstClr val="black"/>
                </a:solidFill>
                <a:effectLst/>
                <a:uLnTx/>
                <a:uFillTx/>
                <a:latin typeface="Calibri Light" panose="020F0302020204030204"/>
                <a:ea typeface="+mn-ea"/>
                <a:cs typeface="+mn-cs"/>
              </a:endParaRPr>
            </a:p>
          </p:txBody>
        </p:sp>
        <p:pic>
          <p:nvPicPr>
            <p:cNvPr id="5" name="Picture 6" descr="http://ipengineer.net/wp-content/uploads/2015/04/git-log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7409" r="54841" b="26351"/>
            <a:stretch/>
          </p:blipFill>
          <p:spPr bwMode="auto">
            <a:xfrm>
              <a:off x="297019" y="2439950"/>
              <a:ext cx="287555" cy="294442"/>
            </a:xfrm>
            <a:prstGeom prst="rect">
              <a:avLst/>
            </a:prstGeom>
            <a:grpFill/>
            <a:extLst/>
          </p:spPr>
        </p:pic>
      </p:grpSp>
      <p:sp>
        <p:nvSpPr>
          <p:cNvPr id="6" name="TextBox 5"/>
          <p:cNvSpPr txBox="1"/>
          <p:nvPr/>
        </p:nvSpPr>
        <p:spPr>
          <a:xfrm>
            <a:off x="2032715" y="616271"/>
            <a:ext cx="9028091" cy="461665"/>
          </a:xfrm>
          <a:prstGeom prst="rect">
            <a:avLst/>
          </a:prstGeom>
          <a:noFill/>
        </p:spPr>
        <p:txBody>
          <a:bodyPr wrap="square" rtlCol="0">
            <a:spAutoFit/>
          </a:bodyPr>
          <a:lstStyle/>
          <a:p>
            <a:pPr marL="171450" indent="-171450">
              <a:buFont typeface="Wingdings" panose="05000000000000000000" pitchFamily="2" charset="2"/>
              <a:buChar char="Ø"/>
            </a:pPr>
            <a:r>
              <a:rPr lang="en-US" sz="1200" dirty="0" smtClean="0"/>
              <a:t>Source code repository which can be </a:t>
            </a:r>
            <a:r>
              <a:rPr lang="en-US" sz="1200" dirty="0" err="1"/>
              <a:t>G</a:t>
            </a:r>
            <a:r>
              <a:rPr lang="en-US" sz="1200" dirty="0" err="1" smtClean="0"/>
              <a:t>it</a:t>
            </a:r>
            <a:r>
              <a:rPr lang="en-US" sz="1200" dirty="0" smtClean="0"/>
              <a:t>, </a:t>
            </a:r>
            <a:r>
              <a:rPr lang="en-US" sz="1200" dirty="0" err="1" smtClean="0"/>
              <a:t>Gitlab</a:t>
            </a:r>
            <a:r>
              <a:rPr lang="en-US" sz="1200" dirty="0" smtClean="0"/>
              <a:t>, </a:t>
            </a:r>
            <a:r>
              <a:rPr lang="en-US" sz="1200" dirty="0" err="1" smtClean="0"/>
              <a:t>bitbucket</a:t>
            </a:r>
            <a:r>
              <a:rPr lang="en-US" sz="1200" dirty="0"/>
              <a:t> </a:t>
            </a:r>
            <a:r>
              <a:rPr lang="en-US" sz="1200" dirty="0" smtClean="0"/>
              <a:t>or TFS based on clients requirement.</a:t>
            </a:r>
          </a:p>
          <a:p>
            <a:pPr marL="171450" indent="-171450">
              <a:buFont typeface="Wingdings" panose="05000000000000000000" pitchFamily="2" charset="2"/>
              <a:buChar char="Ø"/>
            </a:pPr>
            <a:r>
              <a:rPr lang="en-US" sz="1200" dirty="0" smtClean="0"/>
              <a:t>Merge code from individual developers who are working independently .</a:t>
            </a:r>
            <a:endParaRPr lang="en-US" sz="1200" dirty="0"/>
          </a:p>
        </p:txBody>
      </p:sp>
      <p:sp>
        <p:nvSpPr>
          <p:cNvPr id="34" name="Rounded Rectangle 33"/>
          <p:cNvSpPr/>
          <p:nvPr/>
        </p:nvSpPr>
        <p:spPr>
          <a:xfrm>
            <a:off x="0" y="63662"/>
            <a:ext cx="12192000"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lvl="8"/>
            <a:r>
              <a:rPr lang="en-US" sz="2000" b="1" dirty="0" smtClean="0"/>
              <a:t>3</a:t>
            </a:r>
            <a:r>
              <a:rPr lang="en-US" sz="2000" b="1" baseline="30000" dirty="0" smtClean="0"/>
              <a:t>rd</a:t>
            </a:r>
            <a:r>
              <a:rPr lang="en-US" sz="2000" b="1" dirty="0" smtClean="0"/>
              <a:t> Party Integrations involved</a:t>
            </a:r>
            <a:endParaRPr lang="en-US" sz="2000" b="1" dirty="0" smtClean="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3" y="6462392"/>
            <a:ext cx="1407082" cy="313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5994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962" y="276038"/>
            <a:ext cx="11016604" cy="419421"/>
          </a:xfrm>
        </p:spPr>
        <p:txBody>
          <a:bodyPr>
            <a:normAutofit fontScale="90000"/>
          </a:bodyPr>
          <a:lstStyle/>
          <a:p>
            <a:r>
              <a:rPr lang="en-US" sz="3600" dirty="0" smtClean="0"/>
              <a:t/>
            </a:r>
            <a:br>
              <a:rPr lang="en-US" sz="3600" dirty="0" smtClean="0"/>
            </a:br>
            <a:r>
              <a:rPr lang="en-US" sz="2000" dirty="0" smtClean="0">
                <a:solidFill>
                  <a:schemeClr val="bg2">
                    <a:lumMod val="25000"/>
                  </a:schemeClr>
                </a:solidFill>
              </a:rPr>
              <a:t/>
            </a:r>
            <a:br>
              <a:rPr lang="en-US" sz="2000" dirty="0" smtClean="0">
                <a:solidFill>
                  <a:schemeClr val="bg2">
                    <a:lumMod val="25000"/>
                  </a:schemeClr>
                </a:solidFill>
              </a:rPr>
            </a:br>
            <a:r>
              <a:rPr lang="en-US" dirty="0" smtClean="0"/>
              <a:t/>
            </a:r>
            <a:br>
              <a:rPr lang="en-US" dirty="0" smtClean="0"/>
            </a:br>
            <a:r>
              <a:rPr lang="en-US" dirty="0"/>
              <a:t/>
            </a:r>
            <a:br>
              <a:rPr lang="en-US" dirty="0"/>
            </a:br>
            <a:r>
              <a:rPr lang="en-US" dirty="0" smtClean="0"/>
              <a:t/>
            </a:r>
            <a:br>
              <a:rPr lang="en-US" dirty="0" smtClean="0"/>
            </a:br>
            <a:r>
              <a:rPr lang="en-US" dirty="0" smtClean="0"/>
              <a:t/>
            </a:r>
            <a:br>
              <a:rPr lang="en-US" dirty="0" smtClean="0"/>
            </a:br>
            <a:r>
              <a:rPr lang="en-US" dirty="0"/>
              <a:t/>
            </a:r>
            <a:br>
              <a:rPr lang="en-US" dirty="0"/>
            </a:br>
            <a:r>
              <a:rPr lang="en-US" dirty="0" smtClean="0"/>
              <a:t/>
            </a:r>
            <a:br>
              <a:rPr lang="en-US" dirty="0" smtClean="0"/>
            </a:br>
            <a:endParaRPr lang="en-US" dirty="0"/>
          </a:p>
        </p:txBody>
      </p:sp>
      <p:sp>
        <p:nvSpPr>
          <p:cNvPr id="3" name="TextBox 2"/>
          <p:cNvSpPr txBox="1"/>
          <p:nvPr/>
        </p:nvSpPr>
        <p:spPr>
          <a:xfrm>
            <a:off x="472388" y="1030309"/>
            <a:ext cx="11218245" cy="5078313"/>
          </a:xfrm>
          <a:prstGeom prst="rect">
            <a:avLst/>
          </a:prstGeom>
          <a:noFill/>
        </p:spPr>
        <p:txBody>
          <a:bodyPr wrap="square" rtlCol="0">
            <a:spAutoFit/>
          </a:bodyPr>
          <a:lstStyle/>
          <a:p>
            <a:pPr marL="285750" indent="-285750">
              <a:buFont typeface="Wingdings" panose="05000000000000000000" pitchFamily="2" charset="2"/>
              <a:buChar char="q"/>
            </a:pPr>
            <a:r>
              <a:rPr lang="en-US" dirty="0" smtClean="0"/>
              <a:t> </a:t>
            </a:r>
            <a:r>
              <a:rPr lang="en-US" dirty="0"/>
              <a:t>Build Administrations - Permissions in Build follow a hierarchical model. Defaults for all the permissions can be set at the project level and can be overridden on an individual build pipeline</a:t>
            </a:r>
            <a:r>
              <a:rPr lang="en-US" dirty="0" smtClean="0"/>
              <a:t>. You can grant </a:t>
            </a:r>
            <a:r>
              <a:rPr lang="en-US" dirty="0"/>
              <a:t>these permissions directly to a </a:t>
            </a:r>
            <a:r>
              <a:rPr lang="en-US" dirty="0" smtClean="0"/>
              <a:t>person</a:t>
            </a:r>
            <a:r>
              <a:rPr lang="en-US" dirty="0"/>
              <a:t> </a:t>
            </a:r>
            <a:r>
              <a:rPr lang="en-US" dirty="0" smtClean="0"/>
              <a:t>based on the requirement</a:t>
            </a: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smtClean="0"/>
          </a:p>
          <a:p>
            <a:pPr marL="285750" indent="-285750">
              <a:buFont typeface="Wingdings" panose="05000000000000000000" pitchFamily="2" charset="2"/>
              <a:buChar char="q"/>
            </a:pPr>
            <a:r>
              <a:rPr lang="en-US" dirty="0" smtClean="0"/>
              <a:t>Contributors - </a:t>
            </a:r>
            <a:r>
              <a:rPr lang="en-US" dirty="0"/>
              <a:t>Has permissions to contribute fully to the project code base and work item tracking. The main permissions they don't have or those that manage or administer resources</a:t>
            </a:r>
            <a:r>
              <a:rPr lang="en-US" dirty="0" smtClean="0"/>
              <a:t>.</a:t>
            </a:r>
          </a:p>
          <a:p>
            <a:pPr marL="285750" indent="-285750">
              <a:buFont typeface="Wingdings" panose="05000000000000000000" pitchFamily="2" charset="2"/>
              <a:buChar char="q"/>
            </a:pPr>
            <a:endParaRPr lang="en-US" dirty="0" smtClean="0"/>
          </a:p>
          <a:p>
            <a:pPr marL="285750" indent="-285750">
              <a:buFont typeface="Wingdings" panose="05000000000000000000" pitchFamily="2" charset="2"/>
              <a:buChar char="q"/>
            </a:pPr>
            <a:r>
              <a:rPr lang="en-US" dirty="0" smtClean="0"/>
              <a:t>Readers - </a:t>
            </a:r>
            <a:r>
              <a:rPr lang="en-US" dirty="0"/>
              <a:t>Has permissions to view project information, the code base, work items, and other artifacts but not modify them</a:t>
            </a:r>
            <a:r>
              <a:rPr lang="en-US" dirty="0" smtClean="0"/>
              <a:t>.</a:t>
            </a: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r>
              <a:rPr lang="en-US" dirty="0" smtClean="0"/>
              <a:t>Release Administrators - </a:t>
            </a:r>
            <a:r>
              <a:rPr lang="en-US" dirty="0"/>
              <a:t>Release Administrators are granted all release management permissions. These permissions can be granted or denied in a hierarchical model at the project level, for a specific release pipeline, or for a specific environment in a release pipeline. Within this hierarchy, permissions can be inherited from the parent or </a:t>
            </a:r>
            <a:r>
              <a:rPr lang="en-US" dirty="0" smtClean="0"/>
              <a:t>overridden.</a:t>
            </a:r>
            <a:endParaRPr lang="en-US" dirty="0"/>
          </a:p>
          <a:p>
            <a:pPr marL="285750" indent="-285750">
              <a:buFont typeface="Wingdings" panose="05000000000000000000" pitchFamily="2" charset="2"/>
              <a:buChar char="q"/>
            </a:pPr>
            <a:endParaRPr lang="en-US" dirty="0" smtClean="0"/>
          </a:p>
          <a:p>
            <a:pPr marL="285750" indent="-285750">
              <a:buFont typeface="Wingdings" panose="05000000000000000000" pitchFamily="2" charset="2"/>
              <a:buChar char="q"/>
            </a:pPr>
            <a:endParaRPr lang="en-US" dirty="0"/>
          </a:p>
        </p:txBody>
      </p:sp>
      <p:sp>
        <p:nvSpPr>
          <p:cNvPr id="6" name="Rounded Rectangle 5"/>
          <p:cNvSpPr/>
          <p:nvPr/>
        </p:nvSpPr>
        <p:spPr>
          <a:xfrm>
            <a:off x="0" y="63301"/>
            <a:ext cx="12179121" cy="331668"/>
          </a:xfrm>
          <a:prstGeom prst="roundRect">
            <a:avLst>
              <a:gd name="adj" fmla="val 29494"/>
            </a:avLst>
          </a:prstGeom>
          <a:solidFill>
            <a:schemeClr val="tx2"/>
          </a:solidFill>
          <a:ln>
            <a:solidFill>
              <a:srgbClr val="0070C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US" sz="2000" b="1" dirty="0" smtClean="0"/>
              <a:t>                                               </a:t>
            </a:r>
            <a:r>
              <a:rPr lang="en-US" sz="2000" b="1" dirty="0" smtClean="0"/>
              <a:t>Data Analytics</a:t>
            </a:r>
            <a:endParaRPr lang="en-US" sz="2000" b="1"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725" y="5956001"/>
            <a:ext cx="1666875" cy="742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1992" y="63662"/>
            <a:ext cx="495299" cy="331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0621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Tree>
    <p:extLst>
      <p:ext uri="{BB962C8B-B14F-4D97-AF65-F5344CB8AC3E}">
        <p14:creationId xmlns:p14="http://schemas.microsoft.com/office/powerpoint/2010/main" val="32924076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ent and Image Layouts">
  <a:themeElements>
    <a:clrScheme name="Custom 11">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95D934"/>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B065CD12-128C-4DBC-873E-82FC4B88A7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50</TotalTime>
  <Words>542</Words>
  <Application>Microsoft Office PowerPoint</Application>
  <PresentationFormat>Custom</PresentationFormat>
  <Paragraphs>105</Paragraphs>
  <Slides>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Content and Image Layouts</vt:lpstr>
      <vt:lpstr>think-cell Slide</vt:lpstr>
      <vt:lpstr>PowerPoint Presentation</vt:lpstr>
      <vt:lpstr>PowerPoint Presentation</vt:lpstr>
      <vt:lpstr>PowerPoint Presentation</vt:lpstr>
      <vt:lpstr>PowerPoint Presentation</vt:lpstr>
      <vt:lpstr>PowerPoint Presentation</vt:lpstr>
      <vt:lpstr>        </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lian, Nikhita</dc:creator>
  <cp:lastModifiedBy>sudesh</cp:lastModifiedBy>
  <cp:revision>114</cp:revision>
  <dcterms:created xsi:type="dcterms:W3CDTF">2018-07-13T05:11:24Z</dcterms:created>
  <dcterms:modified xsi:type="dcterms:W3CDTF">2019-10-20T20:46:48Z</dcterms:modified>
</cp:coreProperties>
</file>